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67" r:id="rId4"/>
    <p:sldMasterId id="2147483857" r:id="rId5"/>
    <p:sldMasterId id="2147483888" r:id="rId6"/>
    <p:sldMasterId id="2147483919" r:id="rId7"/>
  </p:sldMasterIdLst>
  <p:notesMasterIdLst>
    <p:notesMasterId r:id="rId18"/>
  </p:notesMasterIdLst>
  <p:handoutMasterIdLst>
    <p:handoutMasterId r:id="rId19"/>
  </p:handoutMasterIdLst>
  <p:sldIdLst>
    <p:sldId id="307" r:id="rId8"/>
    <p:sldId id="306" r:id="rId9"/>
    <p:sldId id="302" r:id="rId10"/>
    <p:sldId id="316" r:id="rId11"/>
    <p:sldId id="318" r:id="rId12"/>
    <p:sldId id="313" r:id="rId13"/>
    <p:sldId id="260" r:id="rId14"/>
    <p:sldId id="263" r:id="rId15"/>
    <p:sldId id="261" r:id="rId16"/>
    <p:sldId id="259" r:id="rId17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ASHBOARD" id="{89976F01-A1D7-4E95-B12F-577068E4C89F}">
          <p14:sldIdLst>
            <p14:sldId id="307"/>
            <p14:sldId id="306"/>
            <p14:sldId id="302"/>
            <p14:sldId id="316"/>
            <p14:sldId id="318"/>
          </p14:sldIdLst>
        </p14:section>
        <p14:section name="Tables" id="{87416D69-FE67-46C3-8DAB-B46640599577}">
          <p14:sldIdLst>
            <p14:sldId id="313"/>
            <p14:sldId id="260"/>
            <p14:sldId id="263"/>
            <p14:sldId id="261"/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391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30" userDrawn="1">
          <p15:clr>
            <a:srgbClr val="A4A3A4"/>
          </p15:clr>
        </p15:guide>
        <p15:guide id="9" orient="horz" pos="2160" userDrawn="1">
          <p15:clr>
            <a:srgbClr val="A4A3A4"/>
          </p15:clr>
        </p15:guide>
        <p15:guide id="10" pos="121" userDrawn="1">
          <p15:clr>
            <a:srgbClr val="A4A3A4"/>
          </p15:clr>
        </p15:guide>
        <p15:guide id="11" pos="75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VENCHERE Sandrine" initials="PS" lastIdx="3" clrIdx="0">
    <p:extLst>
      <p:ext uri="{19B8F6BF-5375-455C-9EA6-DF929625EA0E}">
        <p15:presenceInfo xmlns:p15="http://schemas.microsoft.com/office/powerpoint/2012/main" userId="PROVENCHERE Sandrin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96B4"/>
    <a:srgbClr val="F9ADB0"/>
    <a:srgbClr val="FAB8BA"/>
    <a:srgbClr val="F99093"/>
    <a:srgbClr val="F9F9F9"/>
    <a:srgbClr val="D4D5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65BD9C0-CDAC-4338-A78A-D75BAE3A8EBD}" v="6804" dt="2022-02-16T10:21:03.5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Style moyen 1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81" autoAdjust="0"/>
    <p:restoredTop sz="96567" autoAdjust="0"/>
  </p:normalViewPr>
  <p:slideViewPr>
    <p:cSldViewPr snapToGrid="0">
      <p:cViewPr>
        <p:scale>
          <a:sx n="100" d="100"/>
          <a:sy n="100" d="100"/>
        </p:scale>
        <p:origin x="492" y="342"/>
      </p:cViewPr>
      <p:guideLst>
        <p:guide orient="horz" pos="391"/>
        <p:guide orient="horz" pos="3974"/>
        <p:guide pos="3840"/>
        <p:guide pos="30"/>
        <p:guide orient="horz" pos="2160"/>
        <p:guide pos="121"/>
        <p:guide pos="75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66"/>
    </p:cViewPr>
  </p:sorterViewPr>
  <p:notesViewPr>
    <p:cSldViewPr snapToGrid="0">
      <p:cViewPr varScale="1">
        <p:scale>
          <a:sx n="85" d="100"/>
          <a:sy n="85" d="100"/>
        </p:scale>
        <p:origin x="30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font" Target="fonts/font1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font" Target="fonts/font4.fntdata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font" Target="fonts/font3.fntdata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OVENCHERE Sandrine" userId="ad1decff-d2ce-4d29-9d90-3591b80bc438" providerId="ADAL" clId="{1F3AB074-1CA6-4CF5-BBB1-A519ED1E2DF2}"/>
    <pc:docChg chg="undo custSel modSld">
      <pc:chgData name="PROVENCHERE Sandrine" userId="ad1decff-d2ce-4d29-9d90-3591b80bc438" providerId="ADAL" clId="{1F3AB074-1CA6-4CF5-BBB1-A519ED1E2DF2}" dt="2021-12-19T17:48:35.698" v="851" actId="20577"/>
      <pc:docMkLst>
        <pc:docMk/>
      </pc:docMkLst>
      <pc:sldChg chg="addSp delSp modSp mod">
        <pc:chgData name="PROVENCHERE Sandrine" userId="ad1decff-d2ce-4d29-9d90-3591b80bc438" providerId="ADAL" clId="{1F3AB074-1CA6-4CF5-BBB1-A519ED1E2DF2}" dt="2021-12-19T17:31:35.591" v="253" actId="1035"/>
        <pc:sldMkLst>
          <pc:docMk/>
          <pc:sldMk cId="2995402291" sldId="302"/>
        </pc:sldMkLst>
        <pc:spChg chg="add mod">
          <ac:chgData name="PROVENCHERE Sandrine" userId="ad1decff-d2ce-4d29-9d90-3591b80bc438" providerId="ADAL" clId="{1F3AB074-1CA6-4CF5-BBB1-A519ED1E2DF2}" dt="2021-12-19T17:27:44.617" v="121" actId="1038"/>
          <ac:spMkLst>
            <pc:docMk/>
            <pc:sldMk cId="2995402291" sldId="302"/>
            <ac:spMk id="3" creationId="{42E912F6-C728-4C4F-8828-D29398C784DC}"/>
          </ac:spMkLst>
        </pc:spChg>
        <pc:spChg chg="mod">
          <ac:chgData name="PROVENCHERE Sandrine" userId="ad1decff-d2ce-4d29-9d90-3591b80bc438" providerId="ADAL" clId="{1F3AB074-1CA6-4CF5-BBB1-A519ED1E2DF2}" dt="2021-12-19T17:27:52.309" v="145" actId="1036"/>
          <ac:spMkLst>
            <pc:docMk/>
            <pc:sldMk cId="2995402291" sldId="302"/>
            <ac:spMk id="5" creationId="{033BE535-BEA1-47DF-9882-B02E4E1D9238}"/>
          </ac:spMkLst>
        </pc:spChg>
        <pc:spChg chg="add mod ord">
          <ac:chgData name="PROVENCHERE Sandrine" userId="ad1decff-d2ce-4d29-9d90-3591b80bc438" providerId="ADAL" clId="{1F3AB074-1CA6-4CF5-BBB1-A519ED1E2DF2}" dt="2021-12-19T17:31:35.591" v="253" actId="1035"/>
          <ac:spMkLst>
            <pc:docMk/>
            <pc:sldMk cId="2995402291" sldId="302"/>
            <ac:spMk id="34" creationId="{F418BEA8-F2A4-42D8-AB6D-02695DACA6E8}"/>
          </ac:spMkLst>
        </pc:spChg>
        <pc:spChg chg="add mod ord">
          <ac:chgData name="PROVENCHERE Sandrine" userId="ad1decff-d2ce-4d29-9d90-3591b80bc438" providerId="ADAL" clId="{1F3AB074-1CA6-4CF5-BBB1-A519ED1E2DF2}" dt="2021-12-19T17:31:35.591" v="253" actId="1035"/>
          <ac:spMkLst>
            <pc:docMk/>
            <pc:sldMk cId="2995402291" sldId="302"/>
            <ac:spMk id="35" creationId="{609127B1-8218-43B2-AEE7-793225E1D1E6}"/>
          </ac:spMkLst>
        </pc:spChg>
        <pc:spChg chg="mod">
          <ac:chgData name="PROVENCHERE Sandrine" userId="ad1decff-d2ce-4d29-9d90-3591b80bc438" providerId="ADAL" clId="{1F3AB074-1CA6-4CF5-BBB1-A519ED1E2DF2}" dt="2021-12-19T17:28:10.186" v="185" actId="1035"/>
          <ac:spMkLst>
            <pc:docMk/>
            <pc:sldMk cId="2995402291" sldId="302"/>
            <ac:spMk id="40" creationId="{E2A61ACC-8366-4DF2-A03D-313594541598}"/>
          </ac:spMkLst>
        </pc:spChg>
        <pc:spChg chg="mod">
          <ac:chgData name="PROVENCHERE Sandrine" userId="ad1decff-d2ce-4d29-9d90-3591b80bc438" providerId="ADAL" clId="{1F3AB074-1CA6-4CF5-BBB1-A519ED1E2DF2}" dt="2021-12-19T17:28:18.691" v="199" actId="1035"/>
          <ac:spMkLst>
            <pc:docMk/>
            <pc:sldMk cId="2995402291" sldId="302"/>
            <ac:spMk id="41" creationId="{074C132B-7786-4707-AF69-D479087E3EAA}"/>
          </ac:spMkLst>
        </pc:spChg>
        <pc:spChg chg="mod">
          <ac:chgData name="PROVENCHERE Sandrine" userId="ad1decff-d2ce-4d29-9d90-3591b80bc438" providerId="ADAL" clId="{1F3AB074-1CA6-4CF5-BBB1-A519ED1E2DF2}" dt="2021-12-19T17:30:50.624" v="234" actId="1076"/>
          <ac:spMkLst>
            <pc:docMk/>
            <pc:sldMk cId="2995402291" sldId="302"/>
            <ac:spMk id="46" creationId="{2340FF4B-5A9C-48FD-A4C5-5386B4AC990D}"/>
          </ac:spMkLst>
        </pc:spChg>
        <pc:spChg chg="add mod">
          <ac:chgData name="PROVENCHERE Sandrine" userId="ad1decff-d2ce-4d29-9d90-3591b80bc438" providerId="ADAL" clId="{1F3AB074-1CA6-4CF5-BBB1-A519ED1E2DF2}" dt="2021-12-19T17:29:33.300" v="214" actId="1076"/>
          <ac:spMkLst>
            <pc:docMk/>
            <pc:sldMk cId="2995402291" sldId="302"/>
            <ac:spMk id="47" creationId="{FDF682FC-3E94-4A81-A97C-65F6CDA755E9}"/>
          </ac:spMkLst>
        </pc:spChg>
        <pc:spChg chg="mod">
          <ac:chgData name="PROVENCHERE Sandrine" userId="ad1decff-d2ce-4d29-9d90-3591b80bc438" providerId="ADAL" clId="{1F3AB074-1CA6-4CF5-BBB1-A519ED1E2DF2}" dt="2021-12-19T17:30:45.075" v="233" actId="1076"/>
          <ac:spMkLst>
            <pc:docMk/>
            <pc:sldMk cId="2995402291" sldId="302"/>
            <ac:spMk id="49" creationId="{46D04A86-B40D-45F8-B59C-F04D2B600434}"/>
          </ac:spMkLst>
        </pc:spChg>
        <pc:spChg chg="add mod">
          <ac:chgData name="PROVENCHERE Sandrine" userId="ad1decff-d2ce-4d29-9d90-3591b80bc438" providerId="ADAL" clId="{1F3AB074-1CA6-4CF5-BBB1-A519ED1E2DF2}" dt="2021-12-19T17:30:13.859" v="223" actId="1076"/>
          <ac:spMkLst>
            <pc:docMk/>
            <pc:sldMk cId="2995402291" sldId="302"/>
            <ac:spMk id="50" creationId="{DF0ADA25-8D77-452F-BF53-6BA3BD466BCB}"/>
          </ac:spMkLst>
        </pc:spChg>
        <pc:spChg chg="mod">
          <ac:chgData name="PROVENCHERE Sandrine" userId="ad1decff-d2ce-4d29-9d90-3591b80bc438" providerId="ADAL" clId="{1F3AB074-1CA6-4CF5-BBB1-A519ED1E2DF2}" dt="2021-12-19T17:30:26.036" v="231" actId="14100"/>
          <ac:spMkLst>
            <pc:docMk/>
            <pc:sldMk cId="2995402291" sldId="302"/>
            <ac:spMk id="70" creationId="{5D246083-010F-4C9B-9CD8-31978639B100}"/>
          </ac:spMkLst>
        </pc:spChg>
        <pc:spChg chg="mod">
          <ac:chgData name="PROVENCHERE Sandrine" userId="ad1decff-d2ce-4d29-9d90-3591b80bc438" providerId="ADAL" clId="{1F3AB074-1CA6-4CF5-BBB1-A519ED1E2DF2}" dt="2021-12-19T17:28:02.238" v="167" actId="14100"/>
          <ac:spMkLst>
            <pc:docMk/>
            <pc:sldMk cId="2995402291" sldId="302"/>
            <ac:spMk id="98" creationId="{36B65000-BE90-4DC0-B063-1E0C6DC8E64A}"/>
          </ac:spMkLst>
        </pc:spChg>
        <pc:spChg chg="mod">
          <ac:chgData name="PROVENCHERE Sandrine" userId="ad1decff-d2ce-4d29-9d90-3591b80bc438" providerId="ADAL" clId="{1F3AB074-1CA6-4CF5-BBB1-A519ED1E2DF2}" dt="2021-12-19T17:27:57.858" v="166" actId="1035"/>
          <ac:spMkLst>
            <pc:docMk/>
            <pc:sldMk cId="2995402291" sldId="302"/>
            <ac:spMk id="102" creationId="{C109BD84-4ECE-41E7-A595-53FBB9E269E4}"/>
          </ac:spMkLst>
        </pc:spChg>
        <pc:spChg chg="mod">
          <ac:chgData name="PROVENCHERE Sandrine" userId="ad1decff-d2ce-4d29-9d90-3591b80bc438" providerId="ADAL" clId="{1F3AB074-1CA6-4CF5-BBB1-A519ED1E2DF2}" dt="2021-12-19T17:27:30.004" v="114" actId="14100"/>
          <ac:spMkLst>
            <pc:docMk/>
            <pc:sldMk cId="2995402291" sldId="302"/>
            <ac:spMk id="105" creationId="{CACBE0A4-49BF-44E3-8C80-6468118A5003}"/>
          </ac:spMkLst>
        </pc:spChg>
        <pc:graphicFrameChg chg="add mod">
          <ac:chgData name="PROVENCHERE Sandrine" userId="ad1decff-d2ce-4d29-9d90-3591b80bc438" providerId="ADAL" clId="{1F3AB074-1CA6-4CF5-BBB1-A519ED1E2DF2}" dt="2021-12-19T17:27:27.312" v="113" actId="14100"/>
          <ac:graphicFrameMkLst>
            <pc:docMk/>
            <pc:sldMk cId="2995402291" sldId="302"/>
            <ac:graphicFrameMk id="33" creationId="{FA1274E6-7431-4AA3-B65B-AEC5CFB24416}"/>
          </ac:graphicFrameMkLst>
        </pc:graphicFrameChg>
        <pc:picChg chg="add mod ord modCrop">
          <ac:chgData name="PROVENCHERE Sandrine" userId="ad1decff-d2ce-4d29-9d90-3591b80bc438" providerId="ADAL" clId="{1F3AB074-1CA6-4CF5-BBB1-A519ED1E2DF2}" dt="2021-12-19T17:29:56.134" v="220" actId="1076"/>
          <ac:picMkLst>
            <pc:docMk/>
            <pc:sldMk cId="2995402291" sldId="302"/>
            <ac:picMk id="8" creationId="{B8AF65CF-A20B-48ED-A4DE-14AFE92983CF}"/>
          </ac:picMkLst>
        </pc:picChg>
        <pc:picChg chg="mod">
          <ac:chgData name="PROVENCHERE Sandrine" userId="ad1decff-d2ce-4d29-9d90-3591b80bc438" providerId="ADAL" clId="{1F3AB074-1CA6-4CF5-BBB1-A519ED1E2DF2}" dt="2021-12-19T17:30:34.628" v="232" actId="14100"/>
          <ac:picMkLst>
            <pc:docMk/>
            <pc:sldMk cId="2995402291" sldId="302"/>
            <ac:picMk id="9" creationId="{608BAF24-7A22-4675-9762-150B64677425}"/>
          </ac:picMkLst>
        </pc:picChg>
        <pc:picChg chg="add mod">
          <ac:chgData name="PROVENCHERE Sandrine" userId="ad1decff-d2ce-4d29-9d90-3591b80bc438" providerId="ADAL" clId="{1F3AB074-1CA6-4CF5-BBB1-A519ED1E2DF2}" dt="2021-12-19T17:29:06.142" v="211" actId="1076"/>
          <ac:picMkLst>
            <pc:docMk/>
            <pc:sldMk cId="2995402291" sldId="302"/>
            <ac:picMk id="11" creationId="{69855F4B-77A8-47BA-B86D-1EDF495319D0}"/>
          </ac:picMkLst>
        </pc:picChg>
        <pc:picChg chg="add mod">
          <ac:chgData name="PROVENCHERE Sandrine" userId="ad1decff-d2ce-4d29-9d90-3591b80bc438" providerId="ADAL" clId="{1F3AB074-1CA6-4CF5-BBB1-A519ED1E2DF2}" dt="2021-12-19T17:29:03.251" v="210" actId="1076"/>
          <ac:picMkLst>
            <pc:docMk/>
            <pc:sldMk cId="2995402291" sldId="302"/>
            <ac:picMk id="16" creationId="{000B6999-6FEF-4B9E-A55D-E244DEA9907F}"/>
          </ac:picMkLst>
        </pc:picChg>
        <pc:picChg chg="del">
          <ac:chgData name="PROVENCHERE Sandrine" userId="ad1decff-d2ce-4d29-9d90-3591b80bc438" providerId="ADAL" clId="{1F3AB074-1CA6-4CF5-BBB1-A519ED1E2DF2}" dt="2021-12-19T17:12:34.448" v="0" actId="478"/>
          <ac:picMkLst>
            <pc:docMk/>
            <pc:sldMk cId="2995402291" sldId="302"/>
            <ac:picMk id="18" creationId="{93BC337D-812C-4D36-A5D8-84FC5337096A}"/>
          </ac:picMkLst>
        </pc:picChg>
        <pc:picChg chg="mod">
          <ac:chgData name="PROVENCHERE Sandrine" userId="ad1decff-d2ce-4d29-9d90-3591b80bc438" providerId="ADAL" clId="{1F3AB074-1CA6-4CF5-BBB1-A519ED1E2DF2}" dt="2021-12-19T17:27:34.565" v="116" actId="1076"/>
          <ac:picMkLst>
            <pc:docMk/>
            <pc:sldMk cId="2995402291" sldId="302"/>
            <ac:picMk id="104" creationId="{66215C4C-F251-4190-B785-4C69A17BD2ED}"/>
          </ac:picMkLst>
        </pc:picChg>
        <pc:cxnChg chg="add mod">
          <ac:chgData name="PROVENCHERE Sandrine" userId="ad1decff-d2ce-4d29-9d90-3591b80bc438" providerId="ADAL" clId="{1F3AB074-1CA6-4CF5-BBB1-A519ED1E2DF2}" dt="2021-12-19T17:31:35.591" v="253" actId="1035"/>
          <ac:cxnSpMkLst>
            <pc:docMk/>
            <pc:sldMk cId="2995402291" sldId="302"/>
            <ac:cxnSpMk id="37" creationId="{23C98AAC-7350-4345-BD1F-251DDF4CB597}"/>
          </ac:cxnSpMkLst>
        </pc:cxnChg>
        <pc:cxnChg chg="add mod">
          <ac:chgData name="PROVENCHERE Sandrine" userId="ad1decff-d2ce-4d29-9d90-3591b80bc438" providerId="ADAL" clId="{1F3AB074-1CA6-4CF5-BBB1-A519ED1E2DF2}" dt="2021-12-19T17:31:35.591" v="253" actId="1035"/>
          <ac:cxnSpMkLst>
            <pc:docMk/>
            <pc:sldMk cId="2995402291" sldId="302"/>
            <ac:cxnSpMk id="38" creationId="{7FED08DF-8901-4944-A004-76066CFE28D3}"/>
          </ac:cxnSpMkLst>
        </pc:cxnChg>
        <pc:cxnChg chg="mod">
          <ac:chgData name="PROVENCHERE Sandrine" userId="ad1decff-d2ce-4d29-9d90-3591b80bc438" providerId="ADAL" clId="{1F3AB074-1CA6-4CF5-BBB1-A519ED1E2DF2}" dt="2021-12-19T17:28:10.186" v="185" actId="1035"/>
          <ac:cxnSpMkLst>
            <pc:docMk/>
            <pc:sldMk cId="2995402291" sldId="302"/>
            <ac:cxnSpMk id="42" creationId="{4D33F94D-3D8C-4351-8988-730A7BA2E2A9}"/>
          </ac:cxnSpMkLst>
        </pc:cxnChg>
        <pc:cxnChg chg="mod">
          <ac:chgData name="PROVENCHERE Sandrine" userId="ad1decff-d2ce-4d29-9d90-3591b80bc438" providerId="ADAL" clId="{1F3AB074-1CA6-4CF5-BBB1-A519ED1E2DF2}" dt="2021-12-19T17:28:18.691" v="199" actId="1035"/>
          <ac:cxnSpMkLst>
            <pc:docMk/>
            <pc:sldMk cId="2995402291" sldId="302"/>
            <ac:cxnSpMk id="43" creationId="{97AE0169-AFD1-4D3E-B373-BFF698559F41}"/>
          </ac:cxnSpMkLst>
        </pc:cxnChg>
      </pc:sldChg>
      <pc:sldChg chg="modSp mod">
        <pc:chgData name="PROVENCHERE Sandrine" userId="ad1decff-d2ce-4d29-9d90-3591b80bc438" providerId="ADAL" clId="{1F3AB074-1CA6-4CF5-BBB1-A519ED1E2DF2}" dt="2021-12-19T17:48:35.698" v="851" actId="20577"/>
        <pc:sldMkLst>
          <pc:docMk/>
          <pc:sldMk cId="3786029249" sldId="306"/>
        </pc:sldMkLst>
        <pc:spChg chg="mod">
          <ac:chgData name="PROVENCHERE Sandrine" userId="ad1decff-d2ce-4d29-9d90-3591b80bc438" providerId="ADAL" clId="{1F3AB074-1CA6-4CF5-BBB1-A519ED1E2DF2}" dt="2021-12-19T17:47:52.691" v="847" actId="1076"/>
          <ac:spMkLst>
            <pc:docMk/>
            <pc:sldMk cId="3786029249" sldId="306"/>
            <ac:spMk id="17" creationId="{17A54928-8ADB-4B10-900E-B3726C991048}"/>
          </ac:spMkLst>
        </pc:spChg>
        <pc:spChg chg="mod">
          <ac:chgData name="PROVENCHERE Sandrine" userId="ad1decff-d2ce-4d29-9d90-3591b80bc438" providerId="ADAL" clId="{1F3AB074-1CA6-4CF5-BBB1-A519ED1E2DF2}" dt="2021-12-19T17:48:35.698" v="851" actId="20577"/>
          <ac:spMkLst>
            <pc:docMk/>
            <pc:sldMk cId="3786029249" sldId="306"/>
            <ac:spMk id="18" creationId="{A68FD972-9CA0-4E04-A011-04EB94EF4394}"/>
          </ac:spMkLst>
        </pc:spChg>
      </pc:sldChg>
    </pc:docChg>
  </pc:docChgLst>
  <pc:docChgLst>
    <pc:chgData name="PROVENCHERE Sandrine" userId="ad1decff-d2ce-4d29-9d90-3591b80bc438" providerId="ADAL" clId="{E65BD9C0-CDAC-4338-A78A-D75BAE3A8EBD}"/>
    <pc:docChg chg="undo custSel addSld delSld modSld modSection">
      <pc:chgData name="PROVENCHERE Sandrine" userId="ad1decff-d2ce-4d29-9d90-3591b80bc438" providerId="ADAL" clId="{E65BD9C0-CDAC-4338-A78A-D75BAE3A8EBD}" dt="2022-02-16T10:20:54.147" v="13910" actId="20577"/>
      <pc:docMkLst>
        <pc:docMk/>
      </pc:docMkLst>
      <pc:sldChg chg="addSp delSp modSp mod">
        <pc:chgData name="PROVENCHERE Sandrine" userId="ad1decff-d2ce-4d29-9d90-3591b80bc438" providerId="ADAL" clId="{E65BD9C0-CDAC-4338-A78A-D75BAE3A8EBD}" dt="2022-02-15T19:06:44.639" v="12392" actId="1076"/>
        <pc:sldMkLst>
          <pc:docMk/>
          <pc:sldMk cId="1940952397" sldId="259"/>
        </pc:sldMkLst>
        <pc:graphicFrameChg chg="add mod">
          <ac:chgData name="PROVENCHERE Sandrine" userId="ad1decff-d2ce-4d29-9d90-3591b80bc438" providerId="ADAL" clId="{E65BD9C0-CDAC-4338-A78A-D75BAE3A8EBD}" dt="2022-02-15T19:06:44.639" v="12392" actId="1076"/>
          <ac:graphicFrameMkLst>
            <pc:docMk/>
            <pc:sldMk cId="1940952397" sldId="259"/>
            <ac:graphicFrameMk id="2" creationId="{85E86C04-BA18-4F78-8664-B777B04F2ABA}"/>
          </ac:graphicFrameMkLst>
        </pc:graphicFrameChg>
        <pc:graphicFrameChg chg="del">
          <ac:chgData name="PROVENCHERE Sandrine" userId="ad1decff-d2ce-4d29-9d90-3591b80bc438" providerId="ADAL" clId="{E65BD9C0-CDAC-4338-A78A-D75BAE3A8EBD}" dt="2022-02-15T19:06:32.509" v="12388" actId="478"/>
          <ac:graphicFrameMkLst>
            <pc:docMk/>
            <pc:sldMk cId="1940952397" sldId="259"/>
            <ac:graphicFrameMk id="3" creationId="{AE4D226A-2972-4581-A990-6B13E4F0276D}"/>
          </ac:graphicFrameMkLst>
        </pc:graphicFrameChg>
      </pc:sldChg>
      <pc:sldChg chg="addSp delSp modSp mod">
        <pc:chgData name="PROVENCHERE Sandrine" userId="ad1decff-d2ce-4d29-9d90-3591b80bc438" providerId="ADAL" clId="{E65BD9C0-CDAC-4338-A78A-D75BAE3A8EBD}" dt="2022-02-15T19:04:40.740" v="12378" actId="14100"/>
        <pc:sldMkLst>
          <pc:docMk/>
          <pc:sldMk cId="4153218655" sldId="260"/>
        </pc:sldMkLst>
        <pc:graphicFrameChg chg="add mod">
          <ac:chgData name="PROVENCHERE Sandrine" userId="ad1decff-d2ce-4d29-9d90-3591b80bc438" providerId="ADAL" clId="{E65BD9C0-CDAC-4338-A78A-D75BAE3A8EBD}" dt="2022-02-15T19:04:40.740" v="12378" actId="14100"/>
          <ac:graphicFrameMkLst>
            <pc:docMk/>
            <pc:sldMk cId="4153218655" sldId="260"/>
            <ac:graphicFrameMk id="3" creationId="{231231A0-5307-4A7E-8CB0-0897B94BA614}"/>
          </ac:graphicFrameMkLst>
        </pc:graphicFrameChg>
        <pc:graphicFrameChg chg="del">
          <ac:chgData name="PROVENCHERE Sandrine" userId="ad1decff-d2ce-4d29-9d90-3591b80bc438" providerId="ADAL" clId="{E65BD9C0-CDAC-4338-A78A-D75BAE3A8EBD}" dt="2022-02-15T19:04:25.107" v="12375" actId="478"/>
          <ac:graphicFrameMkLst>
            <pc:docMk/>
            <pc:sldMk cId="4153218655" sldId="260"/>
            <ac:graphicFrameMk id="4" creationId="{ED4E6A7B-C7C4-4479-8D87-F440D57CCF8B}"/>
          </ac:graphicFrameMkLst>
        </pc:graphicFrameChg>
      </pc:sldChg>
      <pc:sldChg chg="addSp delSp modSp mod">
        <pc:chgData name="PROVENCHERE Sandrine" userId="ad1decff-d2ce-4d29-9d90-3591b80bc438" providerId="ADAL" clId="{E65BD9C0-CDAC-4338-A78A-D75BAE3A8EBD}" dt="2022-02-15T19:06:28.523" v="12387" actId="1076"/>
        <pc:sldMkLst>
          <pc:docMk/>
          <pc:sldMk cId="1742461301" sldId="261"/>
        </pc:sldMkLst>
        <pc:graphicFrameChg chg="add mod">
          <ac:chgData name="PROVENCHERE Sandrine" userId="ad1decff-d2ce-4d29-9d90-3591b80bc438" providerId="ADAL" clId="{E65BD9C0-CDAC-4338-A78A-D75BAE3A8EBD}" dt="2022-02-15T19:06:28.523" v="12387" actId="1076"/>
          <ac:graphicFrameMkLst>
            <pc:docMk/>
            <pc:sldMk cId="1742461301" sldId="261"/>
            <ac:graphicFrameMk id="2" creationId="{22AC36B1-2271-435C-9DDA-E0FAB3EDC6AA}"/>
          </ac:graphicFrameMkLst>
        </pc:graphicFrameChg>
        <pc:graphicFrameChg chg="del">
          <ac:chgData name="PROVENCHERE Sandrine" userId="ad1decff-d2ce-4d29-9d90-3591b80bc438" providerId="ADAL" clId="{E65BD9C0-CDAC-4338-A78A-D75BAE3A8EBD}" dt="2022-02-15T19:06:22.318" v="12384" actId="478"/>
          <ac:graphicFrameMkLst>
            <pc:docMk/>
            <pc:sldMk cId="1742461301" sldId="261"/>
            <ac:graphicFrameMk id="3" creationId="{E3906DBA-6309-433B-9859-D097FCCEF37A}"/>
          </ac:graphicFrameMkLst>
        </pc:graphicFrameChg>
      </pc:sldChg>
      <pc:sldChg chg="addSp delSp modSp mod">
        <pc:chgData name="PROVENCHERE Sandrine" userId="ad1decff-d2ce-4d29-9d90-3591b80bc438" providerId="ADAL" clId="{E65BD9C0-CDAC-4338-A78A-D75BAE3A8EBD}" dt="2022-02-15T19:05:48.158" v="12383" actId="1076"/>
        <pc:sldMkLst>
          <pc:docMk/>
          <pc:sldMk cId="1904957226" sldId="263"/>
        </pc:sldMkLst>
        <pc:graphicFrameChg chg="add mod">
          <ac:chgData name="PROVENCHERE Sandrine" userId="ad1decff-d2ce-4d29-9d90-3591b80bc438" providerId="ADAL" clId="{E65BD9C0-CDAC-4338-A78A-D75BAE3A8EBD}" dt="2022-02-15T19:05:48.158" v="12383" actId="1076"/>
          <ac:graphicFrameMkLst>
            <pc:docMk/>
            <pc:sldMk cId="1904957226" sldId="263"/>
            <ac:graphicFrameMk id="3" creationId="{A5DCCC00-003A-4BB4-BEED-C89478EDFE97}"/>
          </ac:graphicFrameMkLst>
        </pc:graphicFrameChg>
        <pc:graphicFrameChg chg="del">
          <ac:chgData name="PROVENCHERE Sandrine" userId="ad1decff-d2ce-4d29-9d90-3591b80bc438" providerId="ADAL" clId="{E65BD9C0-CDAC-4338-A78A-D75BAE3A8EBD}" dt="2022-02-15T19:05:38.798" v="12379" actId="478"/>
          <ac:graphicFrameMkLst>
            <pc:docMk/>
            <pc:sldMk cId="1904957226" sldId="263"/>
            <ac:graphicFrameMk id="5" creationId="{460B2019-EEDE-42F4-9C5A-D859ED677DFD}"/>
          </ac:graphicFrameMkLst>
        </pc:graphicFrameChg>
      </pc:sldChg>
      <pc:sldChg chg="addSp delSp modSp mod">
        <pc:chgData name="PROVENCHERE Sandrine" userId="ad1decff-d2ce-4d29-9d90-3591b80bc438" providerId="ADAL" clId="{E65BD9C0-CDAC-4338-A78A-D75BAE3A8EBD}" dt="2022-02-16T10:20:27.405" v="13909" actId="20577"/>
        <pc:sldMkLst>
          <pc:docMk/>
          <pc:sldMk cId="2995402291" sldId="302"/>
        </pc:sldMkLst>
        <pc:spChg chg="mod">
          <ac:chgData name="PROVENCHERE Sandrine" userId="ad1decff-d2ce-4d29-9d90-3591b80bc438" providerId="ADAL" clId="{E65BD9C0-CDAC-4338-A78A-D75BAE3A8EBD}" dt="2022-02-14T18:44:31.603" v="67" actId="948"/>
          <ac:spMkLst>
            <pc:docMk/>
            <pc:sldMk cId="2995402291" sldId="302"/>
            <ac:spMk id="2" creationId="{5660FD56-7A4F-47E5-8616-21914FCCBB4D}"/>
          </ac:spMkLst>
        </pc:spChg>
        <pc:spChg chg="del">
          <ac:chgData name="PROVENCHERE Sandrine" userId="ad1decff-d2ce-4d29-9d90-3591b80bc438" providerId="ADAL" clId="{E65BD9C0-CDAC-4338-A78A-D75BAE3A8EBD}" dt="2022-02-15T15:54:08.229" v="498" actId="478"/>
          <ac:spMkLst>
            <pc:docMk/>
            <pc:sldMk cId="2995402291" sldId="302"/>
            <ac:spMk id="3" creationId="{42E912F6-C728-4C4F-8828-D29398C784DC}"/>
          </ac:spMkLst>
        </pc:spChg>
        <pc:spChg chg="add del mod modVis">
          <ac:chgData name="PROVENCHERE Sandrine" userId="ad1decff-d2ce-4d29-9d90-3591b80bc438" providerId="ADAL" clId="{E65BD9C0-CDAC-4338-A78A-D75BAE3A8EBD}" dt="2022-02-14T18:44:30.209" v="60"/>
          <ac:spMkLst>
            <pc:docMk/>
            <pc:sldMk cId="2995402291" sldId="302"/>
            <ac:spMk id="4" creationId="{93888842-3DC0-4EFD-9A6F-87E8A72CAA30}"/>
          </ac:spMkLst>
        </pc:spChg>
        <pc:spChg chg="mod">
          <ac:chgData name="PROVENCHERE Sandrine" userId="ad1decff-d2ce-4d29-9d90-3591b80bc438" providerId="ADAL" clId="{E65BD9C0-CDAC-4338-A78A-D75BAE3A8EBD}" dt="2022-02-15T16:02:06.873" v="557" actId="1076"/>
          <ac:spMkLst>
            <pc:docMk/>
            <pc:sldMk cId="2995402291" sldId="302"/>
            <ac:spMk id="5" creationId="{033BE535-BEA1-47DF-9882-B02E4E1D9238}"/>
          </ac:spMkLst>
        </pc:spChg>
        <pc:spChg chg="add del mod modVis">
          <ac:chgData name="PROVENCHERE Sandrine" userId="ad1decff-d2ce-4d29-9d90-3591b80bc438" providerId="ADAL" clId="{E65BD9C0-CDAC-4338-A78A-D75BAE3A8EBD}" dt="2022-02-14T18:44:31.670" v="106"/>
          <ac:spMkLst>
            <pc:docMk/>
            <pc:sldMk cId="2995402291" sldId="302"/>
            <ac:spMk id="10" creationId="{76416A13-0261-4D42-9718-EDB481E6A014}"/>
          </ac:spMkLst>
        </pc:spChg>
        <pc:spChg chg="del">
          <ac:chgData name="PROVENCHERE Sandrine" userId="ad1decff-d2ce-4d29-9d90-3591b80bc438" providerId="ADAL" clId="{E65BD9C0-CDAC-4338-A78A-D75BAE3A8EBD}" dt="2022-02-14T18:45:59.039" v="419" actId="478"/>
          <ac:spMkLst>
            <pc:docMk/>
            <pc:sldMk cId="2995402291" sldId="302"/>
            <ac:spMk id="12" creationId="{F326DB1C-B871-4ABD-BFB9-FFC64EBCEC88}"/>
          </ac:spMkLst>
        </pc:spChg>
        <pc:spChg chg="del">
          <ac:chgData name="PROVENCHERE Sandrine" userId="ad1decff-d2ce-4d29-9d90-3591b80bc438" providerId="ADAL" clId="{E65BD9C0-CDAC-4338-A78A-D75BAE3A8EBD}" dt="2022-02-14T18:45:59.039" v="419" actId="478"/>
          <ac:spMkLst>
            <pc:docMk/>
            <pc:sldMk cId="2995402291" sldId="302"/>
            <ac:spMk id="15" creationId="{0B8BFFBD-64CF-4D5B-8D8D-C5A33CE541A4}"/>
          </ac:spMkLst>
        </pc:spChg>
        <pc:spChg chg="mod">
          <ac:chgData name="PROVENCHERE Sandrine" userId="ad1decff-d2ce-4d29-9d90-3591b80bc438" providerId="ADAL" clId="{E65BD9C0-CDAC-4338-A78A-D75BAE3A8EBD}" dt="2022-02-15T16:00:52.486" v="522" actId="1076"/>
          <ac:spMkLst>
            <pc:docMk/>
            <pc:sldMk cId="2995402291" sldId="302"/>
            <ac:spMk id="34" creationId="{F418BEA8-F2A4-42D8-AB6D-02695DACA6E8}"/>
          </ac:spMkLst>
        </pc:spChg>
        <pc:spChg chg="mod">
          <ac:chgData name="PROVENCHERE Sandrine" userId="ad1decff-d2ce-4d29-9d90-3591b80bc438" providerId="ADAL" clId="{E65BD9C0-CDAC-4338-A78A-D75BAE3A8EBD}" dt="2022-02-15T16:03:39.670" v="566" actId="1076"/>
          <ac:spMkLst>
            <pc:docMk/>
            <pc:sldMk cId="2995402291" sldId="302"/>
            <ac:spMk id="35" creationId="{609127B1-8218-43B2-AEE7-793225E1D1E6}"/>
          </ac:spMkLst>
        </pc:spChg>
        <pc:spChg chg="del">
          <ac:chgData name="PROVENCHERE Sandrine" userId="ad1decff-d2ce-4d29-9d90-3591b80bc438" providerId="ADAL" clId="{E65BD9C0-CDAC-4338-A78A-D75BAE3A8EBD}" dt="2022-02-14T18:45:59.039" v="419" actId="478"/>
          <ac:spMkLst>
            <pc:docMk/>
            <pc:sldMk cId="2995402291" sldId="302"/>
            <ac:spMk id="45" creationId="{14BC4F4E-5EA0-43C9-AF44-4ACFD09108D7}"/>
          </ac:spMkLst>
        </pc:spChg>
        <pc:spChg chg="del">
          <ac:chgData name="PROVENCHERE Sandrine" userId="ad1decff-d2ce-4d29-9d90-3591b80bc438" providerId="ADAL" clId="{E65BD9C0-CDAC-4338-A78A-D75BAE3A8EBD}" dt="2022-02-14T18:45:59.039" v="419" actId="478"/>
          <ac:spMkLst>
            <pc:docMk/>
            <pc:sldMk cId="2995402291" sldId="302"/>
            <ac:spMk id="46" creationId="{2340FF4B-5A9C-48FD-A4C5-5386B4AC990D}"/>
          </ac:spMkLst>
        </pc:spChg>
        <pc:spChg chg="mod">
          <ac:chgData name="PROVENCHERE Sandrine" userId="ad1decff-d2ce-4d29-9d90-3591b80bc438" providerId="ADAL" clId="{E65BD9C0-CDAC-4338-A78A-D75BAE3A8EBD}" dt="2022-02-16T10:19:55.702" v="13880" actId="14100"/>
          <ac:spMkLst>
            <pc:docMk/>
            <pc:sldMk cId="2995402291" sldId="302"/>
            <ac:spMk id="47" creationId="{FDF682FC-3E94-4A81-A97C-65F6CDA755E9}"/>
          </ac:spMkLst>
        </pc:spChg>
        <pc:spChg chg="del">
          <ac:chgData name="PROVENCHERE Sandrine" userId="ad1decff-d2ce-4d29-9d90-3591b80bc438" providerId="ADAL" clId="{E65BD9C0-CDAC-4338-A78A-D75BAE3A8EBD}" dt="2022-02-14T18:45:59.039" v="419" actId="478"/>
          <ac:spMkLst>
            <pc:docMk/>
            <pc:sldMk cId="2995402291" sldId="302"/>
            <ac:spMk id="48" creationId="{9F682470-E009-48EE-A460-9F4B3F83FDEE}"/>
          </ac:spMkLst>
        </pc:spChg>
        <pc:spChg chg="del">
          <ac:chgData name="PROVENCHERE Sandrine" userId="ad1decff-d2ce-4d29-9d90-3591b80bc438" providerId="ADAL" clId="{E65BD9C0-CDAC-4338-A78A-D75BAE3A8EBD}" dt="2022-02-14T18:45:59.039" v="419" actId="478"/>
          <ac:spMkLst>
            <pc:docMk/>
            <pc:sldMk cId="2995402291" sldId="302"/>
            <ac:spMk id="49" creationId="{46D04A86-B40D-45F8-B59C-F04D2B600434}"/>
          </ac:spMkLst>
        </pc:spChg>
        <pc:spChg chg="mod">
          <ac:chgData name="PROVENCHERE Sandrine" userId="ad1decff-d2ce-4d29-9d90-3591b80bc438" providerId="ADAL" clId="{E65BD9C0-CDAC-4338-A78A-D75BAE3A8EBD}" dt="2022-02-16T10:20:27.405" v="13909" actId="20577"/>
          <ac:spMkLst>
            <pc:docMk/>
            <pc:sldMk cId="2995402291" sldId="302"/>
            <ac:spMk id="50" creationId="{DF0ADA25-8D77-452F-BF53-6BA3BD466BCB}"/>
          </ac:spMkLst>
        </pc:spChg>
        <pc:spChg chg="add mod">
          <ac:chgData name="PROVENCHERE Sandrine" userId="ad1decff-d2ce-4d29-9d90-3591b80bc438" providerId="ADAL" clId="{E65BD9C0-CDAC-4338-A78A-D75BAE3A8EBD}" dt="2022-02-15T15:40:53.007" v="494" actId="20577"/>
          <ac:spMkLst>
            <pc:docMk/>
            <pc:sldMk cId="2995402291" sldId="302"/>
            <ac:spMk id="51" creationId="{7558DECC-C0FC-4863-B850-C6533B630A75}"/>
          </ac:spMkLst>
        </pc:spChg>
        <pc:spChg chg="add mod">
          <ac:chgData name="PROVENCHERE Sandrine" userId="ad1decff-d2ce-4d29-9d90-3591b80bc438" providerId="ADAL" clId="{E65BD9C0-CDAC-4338-A78A-D75BAE3A8EBD}" dt="2022-02-14T18:46:14.008" v="420"/>
          <ac:spMkLst>
            <pc:docMk/>
            <pc:sldMk cId="2995402291" sldId="302"/>
            <ac:spMk id="52" creationId="{A96D18C2-D389-4238-B494-03B7A1AE63B3}"/>
          </ac:spMkLst>
        </pc:spChg>
        <pc:spChg chg="add mod">
          <ac:chgData name="PROVENCHERE Sandrine" userId="ad1decff-d2ce-4d29-9d90-3591b80bc438" providerId="ADAL" clId="{E65BD9C0-CDAC-4338-A78A-D75BAE3A8EBD}" dt="2022-02-14T18:46:22.546" v="421"/>
          <ac:spMkLst>
            <pc:docMk/>
            <pc:sldMk cId="2995402291" sldId="302"/>
            <ac:spMk id="63" creationId="{27999C65-8D3C-4BDB-9072-3F2FC0E8F4C0}"/>
          </ac:spMkLst>
        </pc:spChg>
        <pc:spChg chg="add mod">
          <ac:chgData name="PROVENCHERE Sandrine" userId="ad1decff-d2ce-4d29-9d90-3591b80bc438" providerId="ADAL" clId="{E65BD9C0-CDAC-4338-A78A-D75BAE3A8EBD}" dt="2022-02-16T10:19:59.258" v="13881" actId="1076"/>
          <ac:spMkLst>
            <pc:docMk/>
            <pc:sldMk cId="2995402291" sldId="302"/>
            <ac:spMk id="66" creationId="{FCBAFC85-9682-4C8E-9479-77FB2D72EBD7}"/>
          </ac:spMkLst>
        </pc:spChg>
        <pc:spChg chg="mod">
          <ac:chgData name="PROVENCHERE Sandrine" userId="ad1decff-d2ce-4d29-9d90-3591b80bc438" providerId="ADAL" clId="{E65BD9C0-CDAC-4338-A78A-D75BAE3A8EBD}" dt="2022-02-14T18:45:49.006" v="417"/>
          <ac:spMkLst>
            <pc:docMk/>
            <pc:sldMk cId="2995402291" sldId="302"/>
            <ac:spMk id="72" creationId="{6FBFF67A-440C-4BF4-909A-C9FBD29357D0}"/>
          </ac:spMkLst>
        </pc:spChg>
        <pc:spChg chg="mod">
          <ac:chgData name="PROVENCHERE Sandrine" userId="ad1decff-d2ce-4d29-9d90-3591b80bc438" providerId="ADAL" clId="{E65BD9C0-CDAC-4338-A78A-D75BAE3A8EBD}" dt="2022-02-15T16:01:47.140" v="541" actId="20577"/>
          <ac:spMkLst>
            <pc:docMk/>
            <pc:sldMk cId="2995402291" sldId="302"/>
            <ac:spMk id="106" creationId="{5C23025C-ABF2-4F91-95FF-0E90933945D8}"/>
          </ac:spMkLst>
        </pc:spChg>
        <pc:spChg chg="mod">
          <ac:chgData name="PROVENCHERE Sandrine" userId="ad1decff-d2ce-4d29-9d90-3591b80bc438" providerId="ADAL" clId="{E65BD9C0-CDAC-4338-A78A-D75BAE3A8EBD}" dt="2022-02-16T10:19:41.008" v="13877" actId="20577"/>
          <ac:spMkLst>
            <pc:docMk/>
            <pc:sldMk cId="2995402291" sldId="302"/>
            <ac:spMk id="121" creationId="{CF6FD9A7-F4F8-4EAA-9723-23B26D03E5D6}"/>
          </ac:spMkLst>
        </pc:spChg>
        <pc:grpChg chg="add mod ord">
          <ac:chgData name="PROVENCHERE Sandrine" userId="ad1decff-d2ce-4d29-9d90-3591b80bc438" providerId="ADAL" clId="{E65BD9C0-CDAC-4338-A78A-D75BAE3A8EBD}" dt="2022-02-15T16:03:08.122" v="563" actId="1076"/>
          <ac:grpSpMkLst>
            <pc:docMk/>
            <pc:sldMk cId="2995402291" sldId="302"/>
            <ac:grpSpMk id="4" creationId="{33BFDF5C-8A12-499A-B8AF-8A87D54F1EB5}"/>
          </ac:grpSpMkLst>
        </pc:grpChg>
        <pc:grpChg chg="add mod">
          <ac:chgData name="PROVENCHERE Sandrine" userId="ad1decff-d2ce-4d29-9d90-3591b80bc438" providerId="ADAL" clId="{E65BD9C0-CDAC-4338-A78A-D75BAE3A8EBD}" dt="2022-02-14T18:46:14.008" v="420"/>
          <ac:grpSpMkLst>
            <pc:docMk/>
            <pc:sldMk cId="2995402291" sldId="302"/>
            <ac:grpSpMk id="53" creationId="{D90CBFDF-E04F-44EB-809F-B30FEC12D5D1}"/>
          </ac:grpSpMkLst>
        </pc:grpChg>
        <pc:graphicFrameChg chg="mod">
          <ac:chgData name="PROVENCHERE Sandrine" userId="ad1decff-d2ce-4d29-9d90-3591b80bc438" providerId="ADAL" clId="{E65BD9C0-CDAC-4338-A78A-D75BAE3A8EBD}" dt="2022-02-14T18:44:31.670" v="108"/>
          <ac:graphicFrameMkLst>
            <pc:docMk/>
            <pc:sldMk cId="2995402291" sldId="302"/>
            <ac:graphicFrameMk id="31" creationId="{CF982A77-D6AC-4875-925C-A532A98C6114}"/>
          </ac:graphicFrameMkLst>
        </pc:graphicFrameChg>
        <pc:graphicFrameChg chg="del">
          <ac:chgData name="PROVENCHERE Sandrine" userId="ad1decff-d2ce-4d29-9d90-3591b80bc438" providerId="ADAL" clId="{E65BD9C0-CDAC-4338-A78A-D75BAE3A8EBD}" dt="2022-02-15T15:54:05.605" v="497" actId="478"/>
          <ac:graphicFrameMkLst>
            <pc:docMk/>
            <pc:sldMk cId="2995402291" sldId="302"/>
            <ac:graphicFrameMk id="33" creationId="{FA1274E6-7431-4AA3-B65B-AEC5CFB24416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5T15:39:32.504" v="489" actId="404"/>
          <ac:graphicFrameMkLst>
            <pc:docMk/>
            <pc:sldMk cId="2995402291" sldId="302"/>
            <ac:graphicFrameMk id="49" creationId="{D2D454C6-9B98-4844-9377-3C6191C5CD53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5T16:03:01.048" v="562"/>
          <ac:graphicFrameMkLst>
            <pc:docMk/>
            <pc:sldMk cId="2995402291" sldId="302"/>
            <ac:graphicFrameMk id="65" creationId="{C6EC8351-71E9-4D56-9F88-D86721158300}"/>
          </ac:graphicFrameMkLst>
        </pc:graphicFrameChg>
        <pc:picChg chg="del">
          <ac:chgData name="PROVENCHERE Sandrine" userId="ad1decff-d2ce-4d29-9d90-3591b80bc438" providerId="ADAL" clId="{E65BD9C0-CDAC-4338-A78A-D75BAE3A8EBD}" dt="2022-02-16T08:10:25.191" v="12414" actId="478"/>
          <ac:picMkLst>
            <pc:docMk/>
            <pc:sldMk cId="2995402291" sldId="302"/>
            <ac:picMk id="8" creationId="{B8AF65CF-A20B-48ED-A4DE-14AFE92983CF}"/>
          </ac:picMkLst>
        </pc:picChg>
        <pc:picChg chg="del">
          <ac:chgData name="PROVENCHERE Sandrine" userId="ad1decff-d2ce-4d29-9d90-3591b80bc438" providerId="ADAL" clId="{E65BD9C0-CDAC-4338-A78A-D75BAE3A8EBD}" dt="2022-02-14T18:45:52.542" v="418" actId="478"/>
          <ac:picMkLst>
            <pc:docMk/>
            <pc:sldMk cId="2995402291" sldId="302"/>
            <ac:picMk id="9" creationId="{608BAF24-7A22-4675-9762-150B64677425}"/>
          </ac:picMkLst>
        </pc:picChg>
        <pc:picChg chg="add mod modCrop">
          <ac:chgData name="PROVENCHERE Sandrine" userId="ad1decff-d2ce-4d29-9d90-3591b80bc438" providerId="ADAL" clId="{E65BD9C0-CDAC-4338-A78A-D75BAE3A8EBD}" dt="2022-02-16T08:12:06.352" v="12434" actId="1076"/>
          <ac:picMkLst>
            <pc:docMk/>
            <pc:sldMk cId="2995402291" sldId="302"/>
            <ac:picMk id="9" creationId="{9EBD9094-E18E-4B60-B35C-06E2A17C5704}"/>
          </ac:picMkLst>
        </pc:picChg>
        <pc:picChg chg="del">
          <ac:chgData name="PROVENCHERE Sandrine" userId="ad1decff-d2ce-4d29-9d90-3591b80bc438" providerId="ADAL" clId="{E65BD9C0-CDAC-4338-A78A-D75BAE3A8EBD}" dt="2022-02-16T08:08:43.966" v="12403" actId="478"/>
          <ac:picMkLst>
            <pc:docMk/>
            <pc:sldMk cId="2995402291" sldId="302"/>
            <ac:picMk id="11" creationId="{69855F4B-77A8-47BA-B86D-1EDF495319D0}"/>
          </ac:picMkLst>
        </pc:picChg>
        <pc:picChg chg="add mod modCrop">
          <ac:chgData name="PROVENCHERE Sandrine" userId="ad1decff-d2ce-4d29-9d90-3591b80bc438" providerId="ADAL" clId="{E65BD9C0-CDAC-4338-A78A-D75BAE3A8EBD}" dt="2022-02-16T08:10:49.266" v="12421" actId="14100"/>
          <ac:picMkLst>
            <pc:docMk/>
            <pc:sldMk cId="2995402291" sldId="302"/>
            <ac:picMk id="12" creationId="{0EBF922E-60AE-4D70-8649-089F52E68FAB}"/>
          </ac:picMkLst>
        </pc:picChg>
        <pc:picChg chg="add mod modCrop">
          <ac:chgData name="PROVENCHERE Sandrine" userId="ad1decff-d2ce-4d29-9d90-3591b80bc438" providerId="ADAL" clId="{E65BD9C0-CDAC-4338-A78A-D75BAE3A8EBD}" dt="2022-02-16T08:12:03.569" v="12433" actId="1076"/>
          <ac:picMkLst>
            <pc:docMk/>
            <pc:sldMk cId="2995402291" sldId="302"/>
            <ac:picMk id="15" creationId="{1179B4E3-F724-4000-965B-304D83CB2DF3}"/>
          </ac:picMkLst>
        </pc:picChg>
        <pc:picChg chg="del">
          <ac:chgData name="PROVENCHERE Sandrine" userId="ad1decff-d2ce-4d29-9d90-3591b80bc438" providerId="ADAL" clId="{E65BD9C0-CDAC-4338-A78A-D75BAE3A8EBD}" dt="2022-02-16T08:11:32.839" v="12424" actId="478"/>
          <ac:picMkLst>
            <pc:docMk/>
            <pc:sldMk cId="2995402291" sldId="302"/>
            <ac:picMk id="16" creationId="{000B6999-6FEF-4B9E-A55D-E244DEA9907F}"/>
          </ac:picMkLst>
        </pc:picChg>
        <pc:picChg chg="mod">
          <ac:chgData name="PROVENCHERE Sandrine" userId="ad1decff-d2ce-4d29-9d90-3591b80bc438" providerId="ADAL" clId="{E65BD9C0-CDAC-4338-A78A-D75BAE3A8EBD}" dt="2022-02-14T18:46:14.008" v="420"/>
          <ac:picMkLst>
            <pc:docMk/>
            <pc:sldMk cId="2995402291" sldId="302"/>
            <ac:picMk id="54" creationId="{C607B857-0C6D-4EBD-A9B1-94EEA2233406}"/>
          </ac:picMkLst>
        </pc:picChg>
        <pc:picChg chg="mod">
          <ac:chgData name="PROVENCHERE Sandrine" userId="ad1decff-d2ce-4d29-9d90-3591b80bc438" providerId="ADAL" clId="{E65BD9C0-CDAC-4338-A78A-D75BAE3A8EBD}" dt="2022-02-14T18:46:14.008" v="420"/>
          <ac:picMkLst>
            <pc:docMk/>
            <pc:sldMk cId="2995402291" sldId="302"/>
            <ac:picMk id="55" creationId="{7C6D2B9A-30C8-42B1-8349-B5599DC74E5D}"/>
          </ac:picMkLst>
        </pc:picChg>
        <pc:picChg chg="mod">
          <ac:chgData name="PROVENCHERE Sandrine" userId="ad1decff-d2ce-4d29-9d90-3591b80bc438" providerId="ADAL" clId="{E65BD9C0-CDAC-4338-A78A-D75BAE3A8EBD}" dt="2022-02-14T18:46:14.008" v="420"/>
          <ac:picMkLst>
            <pc:docMk/>
            <pc:sldMk cId="2995402291" sldId="302"/>
            <ac:picMk id="56" creationId="{D25A32D3-87CB-4CD4-B30C-7ADBCC3A0940}"/>
          </ac:picMkLst>
        </pc:picChg>
        <pc:picChg chg="mod">
          <ac:chgData name="PROVENCHERE Sandrine" userId="ad1decff-d2ce-4d29-9d90-3591b80bc438" providerId="ADAL" clId="{E65BD9C0-CDAC-4338-A78A-D75BAE3A8EBD}" dt="2022-02-14T18:46:14.008" v="420"/>
          <ac:picMkLst>
            <pc:docMk/>
            <pc:sldMk cId="2995402291" sldId="302"/>
            <ac:picMk id="57" creationId="{9074989E-CAD5-40CD-9E60-56696AE4506A}"/>
          </ac:picMkLst>
        </pc:picChg>
        <pc:picChg chg="mod">
          <ac:chgData name="PROVENCHERE Sandrine" userId="ad1decff-d2ce-4d29-9d90-3591b80bc438" providerId="ADAL" clId="{E65BD9C0-CDAC-4338-A78A-D75BAE3A8EBD}" dt="2022-02-14T18:46:14.008" v="420"/>
          <ac:picMkLst>
            <pc:docMk/>
            <pc:sldMk cId="2995402291" sldId="302"/>
            <ac:picMk id="58" creationId="{7136E936-686F-4ABF-AF76-201A1EBEBFBD}"/>
          </ac:picMkLst>
        </pc:picChg>
        <pc:picChg chg="mod">
          <ac:chgData name="PROVENCHERE Sandrine" userId="ad1decff-d2ce-4d29-9d90-3591b80bc438" providerId="ADAL" clId="{E65BD9C0-CDAC-4338-A78A-D75BAE3A8EBD}" dt="2022-02-14T18:46:14.008" v="420"/>
          <ac:picMkLst>
            <pc:docMk/>
            <pc:sldMk cId="2995402291" sldId="302"/>
            <ac:picMk id="59" creationId="{4BB75427-6BE3-470B-8EA3-F87824DC4572}"/>
          </ac:picMkLst>
        </pc:picChg>
        <pc:picChg chg="mod">
          <ac:chgData name="PROVENCHERE Sandrine" userId="ad1decff-d2ce-4d29-9d90-3591b80bc438" providerId="ADAL" clId="{E65BD9C0-CDAC-4338-A78A-D75BAE3A8EBD}" dt="2022-02-14T18:46:14.008" v="420"/>
          <ac:picMkLst>
            <pc:docMk/>
            <pc:sldMk cId="2995402291" sldId="302"/>
            <ac:picMk id="60" creationId="{8EB7ED84-F466-46C9-AFEC-45777D5840D2}"/>
          </ac:picMkLst>
        </pc:picChg>
        <pc:picChg chg="mod">
          <ac:chgData name="PROVENCHERE Sandrine" userId="ad1decff-d2ce-4d29-9d90-3591b80bc438" providerId="ADAL" clId="{E65BD9C0-CDAC-4338-A78A-D75BAE3A8EBD}" dt="2022-02-14T18:46:14.008" v="420"/>
          <ac:picMkLst>
            <pc:docMk/>
            <pc:sldMk cId="2995402291" sldId="302"/>
            <ac:picMk id="61" creationId="{6EC3575E-DC60-4C8D-8A6F-F733D1BBF3DC}"/>
          </ac:picMkLst>
        </pc:picChg>
        <pc:picChg chg="mod">
          <ac:chgData name="PROVENCHERE Sandrine" userId="ad1decff-d2ce-4d29-9d90-3591b80bc438" providerId="ADAL" clId="{E65BD9C0-CDAC-4338-A78A-D75BAE3A8EBD}" dt="2022-02-14T18:46:14.008" v="420"/>
          <ac:picMkLst>
            <pc:docMk/>
            <pc:sldMk cId="2995402291" sldId="302"/>
            <ac:picMk id="62" creationId="{0F6F22E6-A918-44E2-878C-F5882452EC75}"/>
          </ac:picMkLst>
        </pc:picChg>
        <pc:cxnChg chg="mod">
          <ac:chgData name="PROVENCHERE Sandrine" userId="ad1decff-d2ce-4d29-9d90-3591b80bc438" providerId="ADAL" clId="{E65BD9C0-CDAC-4338-A78A-D75BAE3A8EBD}" dt="2022-02-15T15:59:58.263" v="517" actId="164"/>
          <ac:cxnSpMkLst>
            <pc:docMk/>
            <pc:sldMk cId="2995402291" sldId="302"/>
            <ac:cxnSpMk id="37" creationId="{23C98AAC-7350-4345-BD1F-251DDF4CB597}"/>
          </ac:cxnSpMkLst>
        </pc:cxnChg>
        <pc:cxnChg chg="mod">
          <ac:chgData name="PROVENCHERE Sandrine" userId="ad1decff-d2ce-4d29-9d90-3591b80bc438" providerId="ADAL" clId="{E65BD9C0-CDAC-4338-A78A-D75BAE3A8EBD}" dt="2022-02-15T16:01:08.275" v="527" actId="1035"/>
          <ac:cxnSpMkLst>
            <pc:docMk/>
            <pc:sldMk cId="2995402291" sldId="302"/>
            <ac:cxnSpMk id="38" creationId="{7FED08DF-8901-4944-A004-76066CFE28D3}"/>
          </ac:cxnSpMkLst>
        </pc:cxnChg>
      </pc:sldChg>
      <pc:sldChg chg="addSp delSp modSp mod">
        <pc:chgData name="PROVENCHERE Sandrine" userId="ad1decff-d2ce-4d29-9d90-3591b80bc438" providerId="ADAL" clId="{E65BD9C0-CDAC-4338-A78A-D75BAE3A8EBD}" dt="2022-02-16T10:20:54.147" v="13910" actId="20577"/>
        <pc:sldMkLst>
          <pc:docMk/>
          <pc:sldMk cId="3786029249" sldId="306"/>
        </pc:sldMkLst>
        <pc:spChg chg="add del mod">
          <ac:chgData name="PROVENCHERE Sandrine" userId="ad1decff-d2ce-4d29-9d90-3591b80bc438" providerId="ADAL" clId="{E65BD9C0-CDAC-4338-A78A-D75BAE3A8EBD}" dt="2022-02-16T09:44:03.310" v="13344" actId="478"/>
          <ac:spMkLst>
            <pc:docMk/>
            <pc:sldMk cId="3786029249" sldId="306"/>
            <ac:spMk id="12" creationId="{715F6112-62CD-4E35-B4E3-B6B6D30F8B84}"/>
          </ac:spMkLst>
        </pc:spChg>
        <pc:spChg chg="add mod">
          <ac:chgData name="PROVENCHERE Sandrine" userId="ad1decff-d2ce-4d29-9d90-3591b80bc438" providerId="ADAL" clId="{E65BD9C0-CDAC-4338-A78A-D75BAE3A8EBD}" dt="2022-02-16T10:20:54.147" v="13910" actId="20577"/>
          <ac:spMkLst>
            <pc:docMk/>
            <pc:sldMk cId="3786029249" sldId="306"/>
            <ac:spMk id="13" creationId="{590C42B4-AB92-43C7-BBAC-246628D30A05}"/>
          </ac:spMkLst>
        </pc:spChg>
        <pc:spChg chg="mod">
          <ac:chgData name="PROVENCHERE Sandrine" userId="ad1decff-d2ce-4d29-9d90-3591b80bc438" providerId="ADAL" clId="{E65BD9C0-CDAC-4338-A78A-D75BAE3A8EBD}" dt="2022-02-16T09:39:27.319" v="13334" actId="113"/>
          <ac:spMkLst>
            <pc:docMk/>
            <pc:sldMk cId="3786029249" sldId="306"/>
            <ac:spMk id="18" creationId="{A68FD972-9CA0-4E04-A011-04EB94EF4394}"/>
          </ac:spMkLst>
        </pc:spChg>
      </pc:sldChg>
      <pc:sldChg chg="modSp mod">
        <pc:chgData name="PROVENCHERE Sandrine" userId="ad1decff-d2ce-4d29-9d90-3591b80bc438" providerId="ADAL" clId="{E65BD9C0-CDAC-4338-A78A-D75BAE3A8EBD}" dt="2022-02-14T18:44:06.202" v="12" actId="20577"/>
        <pc:sldMkLst>
          <pc:docMk/>
          <pc:sldMk cId="3366464129" sldId="307"/>
        </pc:sldMkLst>
        <pc:spChg chg="mod">
          <ac:chgData name="PROVENCHERE Sandrine" userId="ad1decff-d2ce-4d29-9d90-3591b80bc438" providerId="ADAL" clId="{E65BD9C0-CDAC-4338-A78A-D75BAE3A8EBD}" dt="2022-02-14T18:44:06.202" v="12" actId="20577"/>
          <ac:spMkLst>
            <pc:docMk/>
            <pc:sldMk cId="3366464129" sldId="307"/>
            <ac:spMk id="2" creationId="{71155487-2948-4B79-B454-10A25402BAD8}"/>
          </ac:spMkLst>
        </pc:spChg>
      </pc:sldChg>
      <pc:sldChg chg="addSp delSp modSp del mod">
        <pc:chgData name="PROVENCHERE Sandrine" userId="ad1decff-d2ce-4d29-9d90-3591b80bc438" providerId="ADAL" clId="{E65BD9C0-CDAC-4338-A78A-D75BAE3A8EBD}" dt="2022-02-15T18:35:29.843" v="2139" actId="2696"/>
        <pc:sldMkLst>
          <pc:docMk/>
          <pc:sldMk cId="2715760571" sldId="311"/>
        </pc:sldMkLst>
        <pc:spChg chg="del">
          <ac:chgData name="PROVENCHERE Sandrine" userId="ad1decff-d2ce-4d29-9d90-3591b80bc438" providerId="ADAL" clId="{E65BD9C0-CDAC-4338-A78A-D75BAE3A8EBD}" dt="2022-02-14T18:43:55.595" v="0" actId="478"/>
          <ac:spMkLst>
            <pc:docMk/>
            <pc:sldMk cId="2715760571" sldId="311"/>
            <ac:spMk id="2" creationId="{E59813E8-231E-45DF-B016-5912DEAE3F46}"/>
          </ac:spMkLst>
        </pc:spChg>
        <pc:spChg chg="add del mod modVis">
          <ac:chgData name="PROVENCHERE Sandrine" userId="ad1decff-d2ce-4d29-9d90-3591b80bc438" providerId="ADAL" clId="{E65BD9C0-CDAC-4338-A78A-D75BAE3A8EBD}" dt="2022-02-15T15:35:04.245" v="470"/>
          <ac:spMkLst>
            <pc:docMk/>
            <pc:sldMk cId="2715760571" sldId="311"/>
            <ac:spMk id="2" creationId="{F8942DBE-AD1B-4966-8490-CE15D06F14E7}"/>
          </ac:spMkLst>
        </pc:spChg>
        <pc:spChg chg="add del mod modVis">
          <ac:chgData name="PROVENCHERE Sandrine" userId="ad1decff-d2ce-4d29-9d90-3591b80bc438" providerId="ADAL" clId="{E65BD9C0-CDAC-4338-A78A-D75BAE3A8EBD}" dt="2022-02-14T18:44:47.170" v="150"/>
          <ac:spMkLst>
            <pc:docMk/>
            <pc:sldMk cId="2715760571" sldId="311"/>
            <ac:spMk id="9" creationId="{77120424-722B-4A8B-BAD2-6C35C3F1AC3E}"/>
          </ac:spMkLst>
        </pc:spChg>
        <pc:spChg chg="add del mod modVis">
          <ac:chgData name="PROVENCHERE Sandrine" userId="ad1decff-d2ce-4d29-9d90-3591b80bc438" providerId="ADAL" clId="{E65BD9C0-CDAC-4338-A78A-D75BAE3A8EBD}" dt="2022-02-14T18:44:48.486" v="197"/>
          <ac:spMkLst>
            <pc:docMk/>
            <pc:sldMk cId="2715760571" sldId="311"/>
            <ac:spMk id="13" creationId="{BBC5D705-B4C3-41DD-A2B8-E76BE76C069F}"/>
          </ac:spMkLst>
        </pc:spChg>
        <pc:spChg chg="add del mod modVis">
          <ac:chgData name="PROVENCHERE Sandrine" userId="ad1decff-d2ce-4d29-9d90-3591b80bc438" providerId="ADAL" clId="{E65BD9C0-CDAC-4338-A78A-D75BAE3A8EBD}" dt="2022-02-14T18:44:49.137" v="240"/>
          <ac:spMkLst>
            <pc:docMk/>
            <pc:sldMk cId="2715760571" sldId="311"/>
            <ac:spMk id="20" creationId="{D4F4232F-BC45-4443-A4E9-B48B8B5DFFB6}"/>
          </ac:spMkLst>
        </pc:spChg>
        <pc:spChg chg="add del mod modVis">
          <ac:chgData name="PROVENCHERE Sandrine" userId="ad1decff-d2ce-4d29-9d90-3591b80bc438" providerId="ADAL" clId="{E65BD9C0-CDAC-4338-A78A-D75BAE3A8EBD}" dt="2022-02-14T18:44:49.788" v="283"/>
          <ac:spMkLst>
            <pc:docMk/>
            <pc:sldMk cId="2715760571" sldId="311"/>
            <ac:spMk id="21" creationId="{96CA3F59-05AE-4D87-ACC3-6BE568D11A01}"/>
          </ac:spMkLst>
        </pc:spChg>
        <pc:spChg chg="add del mod modVis">
          <ac:chgData name="PROVENCHERE Sandrine" userId="ad1decff-d2ce-4d29-9d90-3591b80bc438" providerId="ADAL" clId="{E65BD9C0-CDAC-4338-A78A-D75BAE3A8EBD}" dt="2022-02-14T18:44:50.588" v="326"/>
          <ac:spMkLst>
            <pc:docMk/>
            <pc:sldMk cId="2715760571" sldId="311"/>
            <ac:spMk id="25" creationId="{F5BF0D7A-2931-41BA-95B6-954CD9740118}"/>
          </ac:spMkLst>
        </pc:spChg>
        <pc:spChg chg="add del mod modVis">
          <ac:chgData name="PROVENCHERE Sandrine" userId="ad1decff-d2ce-4d29-9d90-3591b80bc438" providerId="ADAL" clId="{E65BD9C0-CDAC-4338-A78A-D75BAE3A8EBD}" dt="2022-02-14T18:44:51.419" v="370"/>
          <ac:spMkLst>
            <pc:docMk/>
            <pc:sldMk cId="2715760571" sldId="311"/>
            <ac:spMk id="28" creationId="{0E118128-EB32-4EFD-861C-8F8E9A56C794}"/>
          </ac:spMkLst>
        </pc:spChg>
        <pc:spChg chg="add del mod modVis">
          <ac:chgData name="PROVENCHERE Sandrine" userId="ad1decff-d2ce-4d29-9d90-3591b80bc438" providerId="ADAL" clId="{E65BD9C0-CDAC-4338-A78A-D75BAE3A8EBD}" dt="2022-02-14T18:44:52.290" v="414"/>
          <ac:spMkLst>
            <pc:docMk/>
            <pc:sldMk cId="2715760571" sldId="311"/>
            <ac:spMk id="30" creationId="{0091EA7F-ACB2-4597-87E0-8DE9C1FF7081}"/>
          </ac:spMkLst>
        </pc:spChg>
        <pc:spChg chg="mod">
          <ac:chgData name="PROVENCHERE Sandrine" userId="ad1decff-d2ce-4d29-9d90-3591b80bc438" providerId="ADAL" clId="{E65BD9C0-CDAC-4338-A78A-D75BAE3A8EBD}" dt="2022-02-15T18:31:56.610" v="589" actId="20577"/>
          <ac:spMkLst>
            <pc:docMk/>
            <pc:sldMk cId="2715760571" sldId="311"/>
            <ac:spMk id="261" creationId="{A10A4420-66C8-42DE-82D1-BEFFB2419C97}"/>
          </ac:spMkLst>
        </pc:spChg>
        <pc:spChg chg="mod">
          <ac:chgData name="PROVENCHERE Sandrine" userId="ad1decff-d2ce-4d29-9d90-3591b80bc438" providerId="ADAL" clId="{E65BD9C0-CDAC-4338-A78A-D75BAE3A8EBD}" dt="2022-02-15T18:32:49.449" v="591" actId="20577"/>
          <ac:spMkLst>
            <pc:docMk/>
            <pc:sldMk cId="2715760571" sldId="311"/>
            <ac:spMk id="262" creationId="{37A8C09C-710F-48E5-AF07-424C5D583BDF}"/>
          </ac:spMkLst>
        </pc:spChg>
        <pc:spChg chg="mod">
          <ac:chgData name="PROVENCHERE Sandrine" userId="ad1decff-d2ce-4d29-9d90-3591b80bc438" providerId="ADAL" clId="{E65BD9C0-CDAC-4338-A78A-D75BAE3A8EBD}" dt="2022-02-15T18:32:58.943" v="594" actId="20577"/>
          <ac:spMkLst>
            <pc:docMk/>
            <pc:sldMk cId="2715760571" sldId="311"/>
            <ac:spMk id="263" creationId="{54604176-CFA7-41D5-BE94-A3AE78B7F4C2}"/>
          </ac:spMkLst>
        </pc:spChg>
        <pc:spChg chg="mod">
          <ac:chgData name="PROVENCHERE Sandrine" userId="ad1decff-d2ce-4d29-9d90-3591b80bc438" providerId="ADAL" clId="{E65BD9C0-CDAC-4338-A78A-D75BAE3A8EBD}" dt="2022-02-15T18:33:06.209" v="596" actId="20577"/>
          <ac:spMkLst>
            <pc:docMk/>
            <pc:sldMk cId="2715760571" sldId="311"/>
            <ac:spMk id="264" creationId="{E165D15C-4633-4830-B94D-6C1F5067BE22}"/>
          </ac:spMkLst>
        </pc:spChg>
        <pc:spChg chg="mod">
          <ac:chgData name="PROVENCHERE Sandrine" userId="ad1decff-d2ce-4d29-9d90-3591b80bc438" providerId="ADAL" clId="{E65BD9C0-CDAC-4338-A78A-D75BAE3A8EBD}" dt="2022-02-15T18:35:00.510" v="598" actId="948"/>
          <ac:spMkLst>
            <pc:docMk/>
            <pc:sldMk cId="2715760571" sldId="311"/>
            <ac:spMk id="587" creationId="{7FC2D976-FF61-496E-BC30-76433C060A8D}"/>
          </ac:spMkLst>
        </pc:spChg>
        <pc:graphicFrameChg chg="mod">
          <ac:chgData name="PROVENCHERE Sandrine" userId="ad1decff-d2ce-4d29-9d90-3591b80bc438" providerId="ADAL" clId="{E65BD9C0-CDAC-4338-A78A-D75BAE3A8EBD}" dt="2022-02-15T18:35:01.088" v="1209"/>
          <ac:graphicFrameMkLst>
            <pc:docMk/>
            <pc:sldMk cId="2715760571" sldId="311"/>
            <ac:graphicFrameMk id="6" creationId="{57E14FF0-0B68-4969-BEF0-799A891BCBC3}"/>
          </ac:graphicFrameMkLst>
        </pc:graphicFrameChg>
        <pc:graphicFrameChg chg="modGraphic">
          <ac:chgData name="PROVENCHERE Sandrine" userId="ad1decff-d2ce-4d29-9d90-3591b80bc438" providerId="ADAL" clId="{E65BD9C0-CDAC-4338-A78A-D75BAE3A8EBD}" dt="2022-02-15T18:31:03.977" v="584" actId="20577"/>
          <ac:graphicFrameMkLst>
            <pc:docMk/>
            <pc:sldMk cId="2715760571" sldId="311"/>
            <ac:graphicFrameMk id="298" creationId="{D64DE84F-2B82-44CB-9B61-C15425C39929}"/>
          </ac:graphicFrameMkLst>
        </pc:graphicFrameChg>
        <pc:graphicFrameChg chg="modGraphic">
          <ac:chgData name="PROVENCHERE Sandrine" userId="ad1decff-d2ce-4d29-9d90-3591b80bc438" providerId="ADAL" clId="{E65BD9C0-CDAC-4338-A78A-D75BAE3A8EBD}" dt="2022-02-15T18:31:10.676" v="587" actId="20577"/>
          <ac:graphicFrameMkLst>
            <pc:docMk/>
            <pc:sldMk cId="2715760571" sldId="311"/>
            <ac:graphicFrameMk id="299" creationId="{E6D899DD-271A-4BA2-B71A-FFD985AC4795}"/>
          </ac:graphicFrameMkLst>
        </pc:graphicFrameChg>
      </pc:sldChg>
      <pc:sldChg chg="addSp delSp modSp del mod">
        <pc:chgData name="PROVENCHERE Sandrine" userId="ad1decff-d2ce-4d29-9d90-3591b80bc438" providerId="ADAL" clId="{E65BD9C0-CDAC-4338-A78A-D75BAE3A8EBD}" dt="2022-02-15T18:57:44.957" v="11073" actId="2696"/>
        <pc:sldMkLst>
          <pc:docMk/>
          <pc:sldMk cId="1196482133" sldId="312"/>
        </pc:sldMkLst>
        <pc:spChg chg="mod">
          <ac:chgData name="PROVENCHERE Sandrine" userId="ad1decff-d2ce-4d29-9d90-3591b80bc438" providerId="ADAL" clId="{E65BD9C0-CDAC-4338-A78A-D75BAE3A8EBD}" dt="2022-02-15T18:56:12.123" v="10436" actId="948"/>
          <ac:spMkLst>
            <pc:docMk/>
            <pc:sldMk cId="1196482133" sldId="312"/>
            <ac:spMk id="2" creationId="{F9B1A035-2CF0-4F9D-9E1F-5C99E51D4AFC}"/>
          </ac:spMkLst>
        </pc:spChg>
        <pc:spChg chg="add del mod modVis">
          <ac:chgData name="PROVENCHERE Sandrine" userId="ad1decff-d2ce-4d29-9d90-3591b80bc438" providerId="ADAL" clId="{E65BD9C0-CDAC-4338-A78A-D75BAE3A8EBD}" dt="2022-02-15T18:56:12.424" v="10784"/>
          <ac:spMkLst>
            <pc:docMk/>
            <pc:sldMk cId="1196482133" sldId="312"/>
            <ac:spMk id="3" creationId="{C894A38E-F99E-44A1-9471-C79381854764}"/>
          </ac:spMkLst>
        </pc:spChg>
        <pc:graphicFrameChg chg="mod">
          <ac:chgData name="PROVENCHERE Sandrine" userId="ad1decff-d2ce-4d29-9d90-3591b80bc438" providerId="ADAL" clId="{E65BD9C0-CDAC-4338-A78A-D75BAE3A8EBD}" dt="2022-02-15T18:56:12.436" v="10786"/>
          <ac:graphicFrameMkLst>
            <pc:docMk/>
            <pc:sldMk cId="1196482133" sldId="312"/>
            <ac:graphicFrameMk id="100" creationId="{8589F35F-0A8D-4311-B1FF-908064655556}"/>
          </ac:graphicFrameMkLst>
        </pc:graphicFrameChg>
      </pc:sldChg>
      <pc:sldChg chg="addSp delSp modSp mod">
        <pc:chgData name="PROVENCHERE Sandrine" userId="ad1decff-d2ce-4d29-9d90-3591b80bc438" providerId="ADAL" clId="{E65BD9C0-CDAC-4338-A78A-D75BAE3A8EBD}" dt="2022-02-16T08:01:41.813" v="12402" actId="1076"/>
        <pc:sldMkLst>
          <pc:docMk/>
          <pc:sldMk cId="3712258178" sldId="313"/>
        </pc:sldMkLst>
        <pc:graphicFrameChg chg="add del mod">
          <ac:chgData name="PROVENCHERE Sandrine" userId="ad1decff-d2ce-4d29-9d90-3591b80bc438" providerId="ADAL" clId="{E65BD9C0-CDAC-4338-A78A-D75BAE3A8EBD}" dt="2022-02-16T08:01:23.803" v="12398" actId="478"/>
          <ac:graphicFrameMkLst>
            <pc:docMk/>
            <pc:sldMk cId="3712258178" sldId="313"/>
            <ac:graphicFrameMk id="3" creationId="{BA6DB516-C863-499A-9F3C-8BA7D188F104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6T08:01:41.813" v="12402" actId="1076"/>
          <ac:graphicFrameMkLst>
            <pc:docMk/>
            <pc:sldMk cId="3712258178" sldId="313"/>
            <ac:graphicFrameMk id="4" creationId="{7B0F6F37-CB9C-44C0-A89C-1E64EE1EE31F}"/>
          </ac:graphicFrameMkLst>
        </pc:graphicFrameChg>
        <pc:graphicFrameChg chg="del">
          <ac:chgData name="PROVENCHERE Sandrine" userId="ad1decff-d2ce-4d29-9d90-3591b80bc438" providerId="ADAL" clId="{E65BD9C0-CDAC-4338-A78A-D75BAE3A8EBD}" dt="2022-02-16T08:00:44.277" v="12393" actId="478"/>
          <ac:graphicFrameMkLst>
            <pc:docMk/>
            <pc:sldMk cId="3712258178" sldId="313"/>
            <ac:graphicFrameMk id="5" creationId="{E03B4EDE-F304-4DAC-8959-28646E95597A}"/>
          </ac:graphicFrameMkLst>
        </pc:graphicFrameChg>
      </pc:sldChg>
      <pc:sldChg chg="addSp delSp modSp add del mod">
        <pc:chgData name="PROVENCHERE Sandrine" userId="ad1decff-d2ce-4d29-9d90-3591b80bc438" providerId="ADAL" clId="{E65BD9C0-CDAC-4338-A78A-D75BAE3A8EBD}" dt="2022-02-15T18:35:37.377" v="3558" actId="2696"/>
        <pc:sldMkLst>
          <pc:docMk/>
          <pc:sldMk cId="2087664928" sldId="314"/>
        </pc:sldMkLst>
        <pc:spChg chg="add del mod modVis">
          <ac:chgData name="PROVENCHERE Sandrine" userId="ad1decff-d2ce-4d29-9d90-3591b80bc438" providerId="ADAL" clId="{E65BD9C0-CDAC-4338-A78A-D75BAE3A8EBD}" dt="2022-02-15T18:35:01.088" v="1211"/>
          <ac:spMkLst>
            <pc:docMk/>
            <pc:sldMk cId="2087664928" sldId="314"/>
            <ac:spMk id="2" creationId="{D0D78AF8-E443-4434-BA7C-025673B361D9}"/>
          </ac:spMkLst>
        </pc:spChg>
        <pc:spChg chg="mod ord">
          <ac:chgData name="PROVENCHERE Sandrine" userId="ad1decff-d2ce-4d29-9d90-3591b80bc438" providerId="ADAL" clId="{E65BD9C0-CDAC-4338-A78A-D75BAE3A8EBD}" dt="2022-02-15T18:35:17.009" v="2062"/>
          <ac:spMkLst>
            <pc:docMk/>
            <pc:sldMk cId="2087664928" sldId="314"/>
            <ac:spMk id="3" creationId="{7123C9CD-0DB3-4CF8-A58B-E9B01F7752F7}"/>
          </ac:spMkLst>
        </pc:spChg>
        <pc:spChg chg="mod ord">
          <ac:chgData name="PROVENCHERE Sandrine" userId="ad1decff-d2ce-4d29-9d90-3591b80bc438" providerId="ADAL" clId="{E65BD9C0-CDAC-4338-A78A-D75BAE3A8EBD}" dt="2022-02-15T18:35:16.960" v="1879"/>
          <ac:spMkLst>
            <pc:docMk/>
            <pc:sldMk cId="2087664928" sldId="314"/>
            <ac:spMk id="5" creationId="{10A373AB-AD61-4AED-871E-8986A038C3B1}"/>
          </ac:spMkLst>
        </pc:spChg>
        <pc:spChg chg="mod ord">
          <ac:chgData name="PROVENCHERE Sandrine" userId="ad1decff-d2ce-4d29-9d90-3591b80bc438" providerId="ADAL" clId="{E65BD9C0-CDAC-4338-A78A-D75BAE3A8EBD}" dt="2022-02-15T18:35:17.009" v="2074"/>
          <ac:spMkLst>
            <pc:docMk/>
            <pc:sldMk cId="2087664928" sldId="314"/>
            <ac:spMk id="8" creationId="{0F248677-2B3B-4D33-8092-A63747D709D5}"/>
          </ac:spMkLst>
        </pc:spChg>
        <pc:spChg chg="add del mod modVis">
          <ac:chgData name="PROVENCHERE Sandrine" userId="ad1decff-d2ce-4d29-9d90-3591b80bc438" providerId="ADAL" clId="{E65BD9C0-CDAC-4338-A78A-D75BAE3A8EBD}" dt="2022-02-15T18:35:17.027" v="2136"/>
          <ac:spMkLst>
            <pc:docMk/>
            <pc:sldMk cId="2087664928" sldId="314"/>
            <ac:spMk id="9" creationId="{AC4E03FB-196D-4F7D-A556-AD334C708CBB}"/>
          </ac:spMkLst>
        </pc:spChg>
        <pc:spChg chg="mod ord">
          <ac:chgData name="PROVENCHERE Sandrine" userId="ad1decff-d2ce-4d29-9d90-3591b80bc438" providerId="ADAL" clId="{E65BD9C0-CDAC-4338-A78A-D75BAE3A8EBD}" dt="2022-02-15T18:35:16.960" v="1887"/>
          <ac:spMkLst>
            <pc:docMk/>
            <pc:sldMk cId="2087664928" sldId="314"/>
            <ac:spMk id="10" creationId="{00000000-0000-0000-0000-000000000000}"/>
          </ac:spMkLst>
        </pc:spChg>
        <pc:spChg chg="mod ord">
          <ac:chgData name="PROVENCHERE Sandrine" userId="ad1decff-d2ce-4d29-9d90-3591b80bc438" providerId="ADAL" clId="{E65BD9C0-CDAC-4338-A78A-D75BAE3A8EBD}" dt="2022-02-15T18:35:16.960" v="1885"/>
          <ac:spMkLst>
            <pc:docMk/>
            <pc:sldMk cId="2087664928" sldId="314"/>
            <ac:spMk id="11" creationId="{00000000-0000-0000-0000-000000000000}"/>
          </ac:spMkLst>
        </pc:spChg>
        <pc:spChg chg="mod ord">
          <ac:chgData name="PROVENCHERE Sandrine" userId="ad1decff-d2ce-4d29-9d90-3591b80bc438" providerId="ADAL" clId="{E65BD9C0-CDAC-4338-A78A-D75BAE3A8EBD}" dt="2022-02-15T18:35:16.960" v="1889"/>
          <ac:spMkLst>
            <pc:docMk/>
            <pc:sldMk cId="2087664928" sldId="314"/>
            <ac:spMk id="16" creationId="{00000000-0000-0000-0000-000000000000}"/>
          </ac:spMkLst>
        </pc:spChg>
        <pc:spChg chg="mod ord">
          <ac:chgData name="PROVENCHERE Sandrine" userId="ad1decff-d2ce-4d29-9d90-3591b80bc438" providerId="ADAL" clId="{E65BD9C0-CDAC-4338-A78A-D75BAE3A8EBD}" dt="2022-02-15T18:35:16.960" v="1891"/>
          <ac:spMkLst>
            <pc:docMk/>
            <pc:sldMk cId="2087664928" sldId="314"/>
            <ac:spMk id="17" creationId="{00000000-0000-0000-0000-000000000000}"/>
          </ac:spMkLst>
        </pc:spChg>
        <pc:spChg chg="mod ord">
          <ac:chgData name="PROVENCHERE Sandrine" userId="ad1decff-d2ce-4d29-9d90-3591b80bc438" providerId="ADAL" clId="{E65BD9C0-CDAC-4338-A78A-D75BAE3A8EBD}" dt="2022-02-15T18:35:16.960" v="1903"/>
          <ac:spMkLst>
            <pc:docMk/>
            <pc:sldMk cId="2087664928" sldId="314"/>
            <ac:spMk id="18" creationId="{C818D617-BDA1-4FA4-AD0B-655F50438613}"/>
          </ac:spMkLst>
        </pc:spChg>
        <pc:spChg chg="mod ord">
          <ac:chgData name="PROVENCHERE Sandrine" userId="ad1decff-d2ce-4d29-9d90-3591b80bc438" providerId="ADAL" clId="{E65BD9C0-CDAC-4338-A78A-D75BAE3A8EBD}" dt="2022-02-15T18:35:16.960" v="1905"/>
          <ac:spMkLst>
            <pc:docMk/>
            <pc:sldMk cId="2087664928" sldId="314"/>
            <ac:spMk id="19" creationId="{13034FE2-4385-4DCF-B23C-99CE479BC164}"/>
          </ac:spMkLst>
        </pc:spChg>
        <pc:spChg chg="mod">
          <ac:chgData name="PROVENCHERE Sandrine" userId="ad1decff-d2ce-4d29-9d90-3591b80bc438" providerId="ADAL" clId="{E65BD9C0-CDAC-4338-A78A-D75BAE3A8EBD}" dt="2022-02-15T18:35:16.960" v="1920"/>
          <ac:spMkLst>
            <pc:docMk/>
            <pc:sldMk cId="2087664928" sldId="314"/>
            <ac:spMk id="22" creationId="{FD42C964-3FB1-4BC5-9068-C1E186698C9E}"/>
          </ac:spMkLst>
        </pc:spChg>
        <pc:spChg chg="mod ord">
          <ac:chgData name="PROVENCHERE Sandrine" userId="ad1decff-d2ce-4d29-9d90-3591b80bc438" providerId="ADAL" clId="{E65BD9C0-CDAC-4338-A78A-D75BAE3A8EBD}" dt="2022-02-15T18:35:16.960" v="1893"/>
          <ac:spMkLst>
            <pc:docMk/>
            <pc:sldMk cId="2087664928" sldId="314"/>
            <ac:spMk id="34" creationId="{6C637BB9-5738-4644-B55B-C7F69DDAAE70}"/>
          </ac:spMkLst>
        </pc:spChg>
        <pc:spChg chg="mod ord">
          <ac:chgData name="PROVENCHERE Sandrine" userId="ad1decff-d2ce-4d29-9d90-3591b80bc438" providerId="ADAL" clId="{E65BD9C0-CDAC-4338-A78A-D75BAE3A8EBD}" dt="2022-02-15T18:35:16.960" v="1909"/>
          <ac:spMkLst>
            <pc:docMk/>
            <pc:sldMk cId="2087664928" sldId="314"/>
            <ac:spMk id="138" creationId="{D7F57ED2-D42E-4509-B433-A35419661A4D}"/>
          </ac:spMkLst>
        </pc:spChg>
        <pc:spChg chg="mod ord">
          <ac:chgData name="PROVENCHERE Sandrine" userId="ad1decff-d2ce-4d29-9d90-3591b80bc438" providerId="ADAL" clId="{E65BD9C0-CDAC-4338-A78A-D75BAE3A8EBD}" dt="2022-02-15T18:35:16.977" v="1956"/>
          <ac:spMkLst>
            <pc:docMk/>
            <pc:sldMk cId="2087664928" sldId="314"/>
            <ac:spMk id="144" creationId="{6722C45A-27DD-4C98-B534-7A0593FA8238}"/>
          </ac:spMkLst>
        </pc:spChg>
        <pc:spChg chg="mod ord">
          <ac:chgData name="PROVENCHERE Sandrine" userId="ad1decff-d2ce-4d29-9d90-3591b80bc438" providerId="ADAL" clId="{E65BD9C0-CDAC-4338-A78A-D75BAE3A8EBD}" dt="2022-02-15T18:35:16.977" v="1958"/>
          <ac:spMkLst>
            <pc:docMk/>
            <pc:sldMk cId="2087664928" sldId="314"/>
            <ac:spMk id="145" creationId="{38454F27-009D-49D5-824E-8B8829526155}"/>
          </ac:spMkLst>
        </pc:spChg>
        <pc:spChg chg="mod">
          <ac:chgData name="PROVENCHERE Sandrine" userId="ad1decff-d2ce-4d29-9d90-3591b80bc438" providerId="ADAL" clId="{E65BD9C0-CDAC-4338-A78A-D75BAE3A8EBD}" dt="2022-02-15T18:35:16.977" v="1974"/>
          <ac:spMkLst>
            <pc:docMk/>
            <pc:sldMk cId="2087664928" sldId="314"/>
            <ac:spMk id="156" creationId="{FFB1ADF8-FC39-450E-8713-51E84E19C50B}"/>
          </ac:spMkLst>
        </pc:spChg>
        <pc:spChg chg="mod">
          <ac:chgData name="PROVENCHERE Sandrine" userId="ad1decff-d2ce-4d29-9d90-3591b80bc438" providerId="ADAL" clId="{E65BD9C0-CDAC-4338-A78A-D75BAE3A8EBD}" dt="2022-02-15T18:35:16.994" v="2002"/>
          <ac:spMkLst>
            <pc:docMk/>
            <pc:sldMk cId="2087664928" sldId="314"/>
            <ac:spMk id="157" creationId="{FB7A7D5C-429B-42F4-B257-D107BFE0E02D}"/>
          </ac:spMkLst>
        </pc:spChg>
        <pc:spChg chg="del mod">
          <ac:chgData name="PROVENCHERE Sandrine" userId="ad1decff-d2ce-4d29-9d90-3591b80bc438" providerId="ADAL" clId="{E65BD9C0-CDAC-4338-A78A-D75BAE3A8EBD}" dt="2022-02-15T18:35:16.226" v="1222"/>
          <ac:spMkLst>
            <pc:docMk/>
            <pc:sldMk cId="2087664928" sldId="314"/>
            <ac:spMk id="162" creationId="{5CA29E31-9C27-47C4-87D8-9254DF9F739D}"/>
          </ac:spMkLst>
        </pc:spChg>
        <pc:spChg chg="mod">
          <ac:chgData name="PROVENCHERE Sandrine" userId="ad1decff-d2ce-4d29-9d90-3591b80bc438" providerId="ADAL" clId="{E65BD9C0-CDAC-4338-A78A-D75BAE3A8EBD}" dt="2022-02-15T18:35:16.977" v="1969"/>
          <ac:spMkLst>
            <pc:docMk/>
            <pc:sldMk cId="2087664928" sldId="314"/>
            <ac:spMk id="164" creationId="{7B64E7BF-CF59-4648-94EB-7A74AD3D5C0D}"/>
          </ac:spMkLst>
        </pc:spChg>
        <pc:spChg chg="mod">
          <ac:chgData name="PROVENCHERE Sandrine" userId="ad1decff-d2ce-4d29-9d90-3591b80bc438" providerId="ADAL" clId="{E65BD9C0-CDAC-4338-A78A-D75BAE3A8EBD}" dt="2022-02-15T18:35:16.994" v="2013"/>
          <ac:spMkLst>
            <pc:docMk/>
            <pc:sldMk cId="2087664928" sldId="314"/>
            <ac:spMk id="165" creationId="{72493A5C-7BE1-449E-A5BA-C58C77C4D6A1}"/>
          </ac:spMkLst>
        </pc:spChg>
        <pc:spChg chg="mod">
          <ac:chgData name="PROVENCHERE Sandrine" userId="ad1decff-d2ce-4d29-9d90-3591b80bc438" providerId="ADAL" clId="{E65BD9C0-CDAC-4338-A78A-D75BAE3A8EBD}" dt="2022-02-15T18:35:16.994" v="2018"/>
          <ac:spMkLst>
            <pc:docMk/>
            <pc:sldMk cId="2087664928" sldId="314"/>
            <ac:spMk id="166" creationId="{10133404-69A2-4C5A-AFCF-BBAD1E9D1CC7}"/>
          </ac:spMkLst>
        </pc:spChg>
        <pc:spChg chg="mod">
          <ac:chgData name="PROVENCHERE Sandrine" userId="ad1decff-d2ce-4d29-9d90-3591b80bc438" providerId="ADAL" clId="{E65BD9C0-CDAC-4338-A78A-D75BAE3A8EBD}" dt="2022-02-15T18:35:16.977" v="1968"/>
          <ac:spMkLst>
            <pc:docMk/>
            <pc:sldMk cId="2087664928" sldId="314"/>
            <ac:spMk id="167" creationId="{1EE0F536-1CDA-4CA8-B758-F9EB93AD4D7E}"/>
          </ac:spMkLst>
        </pc:spChg>
        <pc:spChg chg="mod">
          <ac:chgData name="PROVENCHERE Sandrine" userId="ad1decff-d2ce-4d29-9d90-3591b80bc438" providerId="ADAL" clId="{E65BD9C0-CDAC-4338-A78A-D75BAE3A8EBD}" dt="2022-02-15T18:35:16.977" v="1964"/>
          <ac:spMkLst>
            <pc:docMk/>
            <pc:sldMk cId="2087664928" sldId="314"/>
            <ac:spMk id="168" creationId="{256E1423-A209-48D4-AFF3-8C76C5F02B1E}"/>
          </ac:spMkLst>
        </pc:spChg>
        <pc:spChg chg="mod">
          <ac:chgData name="PROVENCHERE Sandrine" userId="ad1decff-d2ce-4d29-9d90-3591b80bc438" providerId="ADAL" clId="{E65BD9C0-CDAC-4338-A78A-D75BAE3A8EBD}" dt="2022-02-15T18:35:16.977" v="1975"/>
          <ac:spMkLst>
            <pc:docMk/>
            <pc:sldMk cId="2087664928" sldId="314"/>
            <ac:spMk id="169" creationId="{93D26106-91A6-4BA4-92EB-AC4980D93D44}"/>
          </ac:spMkLst>
        </pc:spChg>
        <pc:spChg chg="del mod ord">
          <ac:chgData name="PROVENCHERE Sandrine" userId="ad1decff-d2ce-4d29-9d90-3591b80bc438" providerId="ADAL" clId="{E65BD9C0-CDAC-4338-A78A-D75BAE3A8EBD}" dt="2022-02-15T18:35:16.226" v="1217"/>
          <ac:spMkLst>
            <pc:docMk/>
            <pc:sldMk cId="2087664928" sldId="314"/>
            <ac:spMk id="170" creationId="{E7A1DBDF-DE03-404A-BE2E-463E8CB11F17}"/>
          </ac:spMkLst>
        </pc:spChg>
        <pc:spChg chg="mod ord">
          <ac:chgData name="PROVENCHERE Sandrine" userId="ad1decff-d2ce-4d29-9d90-3591b80bc438" providerId="ADAL" clId="{E65BD9C0-CDAC-4338-A78A-D75BAE3A8EBD}" dt="2022-02-15T18:35:16.977" v="1961"/>
          <ac:spMkLst>
            <pc:docMk/>
            <pc:sldMk cId="2087664928" sldId="314"/>
            <ac:spMk id="171" creationId="{243149C3-F9D2-4D9A-B60A-073600B15D7B}"/>
          </ac:spMkLst>
        </pc:spChg>
        <pc:spChg chg="mod ord">
          <ac:chgData name="PROVENCHERE Sandrine" userId="ad1decff-d2ce-4d29-9d90-3591b80bc438" providerId="ADAL" clId="{E65BD9C0-CDAC-4338-A78A-D75BAE3A8EBD}" dt="2022-02-15T18:35:16.977" v="1973"/>
          <ac:spMkLst>
            <pc:docMk/>
            <pc:sldMk cId="2087664928" sldId="314"/>
            <ac:spMk id="172" creationId="{D6213BE2-F83F-42F2-AEF3-1C7E0C020E0C}"/>
          </ac:spMkLst>
        </pc:spChg>
        <pc:spChg chg="mod">
          <ac:chgData name="PROVENCHERE Sandrine" userId="ad1decff-d2ce-4d29-9d90-3591b80bc438" providerId="ADAL" clId="{E65BD9C0-CDAC-4338-A78A-D75BAE3A8EBD}" dt="2022-02-15T18:35:16.977" v="1978"/>
          <ac:spMkLst>
            <pc:docMk/>
            <pc:sldMk cId="2087664928" sldId="314"/>
            <ac:spMk id="173" creationId="{7DB56D33-38DD-4C6B-AC78-566A167A3FEC}"/>
          </ac:spMkLst>
        </pc:spChg>
        <pc:spChg chg="mod">
          <ac:chgData name="PROVENCHERE Sandrine" userId="ad1decff-d2ce-4d29-9d90-3591b80bc438" providerId="ADAL" clId="{E65BD9C0-CDAC-4338-A78A-D75BAE3A8EBD}" dt="2022-02-15T18:35:16.994" v="2012"/>
          <ac:spMkLst>
            <pc:docMk/>
            <pc:sldMk cId="2087664928" sldId="314"/>
            <ac:spMk id="174" creationId="{030F21D3-A9A5-47DD-8F6A-1F8E23FCB6A2}"/>
          </ac:spMkLst>
        </pc:spChg>
        <pc:spChg chg="mod ord">
          <ac:chgData name="PROVENCHERE Sandrine" userId="ad1decff-d2ce-4d29-9d90-3591b80bc438" providerId="ADAL" clId="{E65BD9C0-CDAC-4338-A78A-D75BAE3A8EBD}" dt="2022-02-15T18:35:16.994" v="2008"/>
          <ac:spMkLst>
            <pc:docMk/>
            <pc:sldMk cId="2087664928" sldId="314"/>
            <ac:spMk id="175" creationId="{2F8499CF-F49D-461C-BD71-574CC84B301F}"/>
          </ac:spMkLst>
        </pc:spChg>
        <pc:spChg chg="del mod">
          <ac:chgData name="PROVENCHERE Sandrine" userId="ad1decff-d2ce-4d29-9d90-3591b80bc438" providerId="ADAL" clId="{E65BD9C0-CDAC-4338-A78A-D75BAE3A8EBD}" dt="2022-02-15T18:35:16.226" v="1218"/>
          <ac:spMkLst>
            <pc:docMk/>
            <pc:sldMk cId="2087664928" sldId="314"/>
            <ac:spMk id="177" creationId="{59E56C5E-C398-4AB8-9E25-9801882A83FD}"/>
          </ac:spMkLst>
        </pc:spChg>
        <pc:spChg chg="mod ord">
          <ac:chgData name="PROVENCHERE Sandrine" userId="ad1decff-d2ce-4d29-9d90-3591b80bc438" providerId="ADAL" clId="{E65BD9C0-CDAC-4338-A78A-D75BAE3A8EBD}" dt="2022-02-15T18:35:16.994" v="2011"/>
          <ac:spMkLst>
            <pc:docMk/>
            <pc:sldMk cId="2087664928" sldId="314"/>
            <ac:spMk id="178" creationId="{CADEE7B2-857C-45C5-9C95-0F75246A8880}"/>
          </ac:spMkLst>
        </pc:spChg>
        <pc:spChg chg="del mod">
          <ac:chgData name="PROVENCHERE Sandrine" userId="ad1decff-d2ce-4d29-9d90-3591b80bc438" providerId="ADAL" clId="{E65BD9C0-CDAC-4338-A78A-D75BAE3A8EBD}" dt="2022-02-15T18:35:16.226" v="1219"/>
          <ac:spMkLst>
            <pc:docMk/>
            <pc:sldMk cId="2087664928" sldId="314"/>
            <ac:spMk id="179" creationId="{8837CD83-9A90-4F1F-9C41-A9D386AE81A8}"/>
          </ac:spMkLst>
        </pc:spChg>
        <pc:spChg chg="del mod">
          <ac:chgData name="PROVENCHERE Sandrine" userId="ad1decff-d2ce-4d29-9d90-3591b80bc438" providerId="ADAL" clId="{E65BD9C0-CDAC-4338-A78A-D75BAE3A8EBD}" dt="2022-02-15T18:35:16.226" v="1220"/>
          <ac:spMkLst>
            <pc:docMk/>
            <pc:sldMk cId="2087664928" sldId="314"/>
            <ac:spMk id="180" creationId="{1F37C3BB-E3C2-482F-B5B4-7024EAC582E6}"/>
          </ac:spMkLst>
        </pc:spChg>
        <pc:spChg chg="del mod">
          <ac:chgData name="PROVENCHERE Sandrine" userId="ad1decff-d2ce-4d29-9d90-3591b80bc438" providerId="ADAL" clId="{E65BD9C0-CDAC-4338-A78A-D75BAE3A8EBD}" dt="2022-02-15T18:35:16.226" v="1221"/>
          <ac:spMkLst>
            <pc:docMk/>
            <pc:sldMk cId="2087664928" sldId="314"/>
            <ac:spMk id="181" creationId="{51768A0B-0C85-4FAE-9D46-00462015D554}"/>
          </ac:spMkLst>
        </pc:spChg>
        <pc:spChg chg="mod ord">
          <ac:chgData name="PROVENCHERE Sandrine" userId="ad1decff-d2ce-4d29-9d90-3591b80bc438" providerId="ADAL" clId="{E65BD9C0-CDAC-4338-A78A-D75BAE3A8EBD}" dt="2022-02-15T18:35:17.009" v="2060"/>
          <ac:spMkLst>
            <pc:docMk/>
            <pc:sldMk cId="2087664928" sldId="314"/>
            <ac:spMk id="187" creationId="{2BBCB42D-7904-4000-802F-1AF38302679F}"/>
          </ac:spMkLst>
        </pc:spChg>
        <pc:spChg chg="mod">
          <ac:chgData name="PROVENCHERE Sandrine" userId="ad1decff-d2ce-4d29-9d90-3591b80bc438" providerId="ADAL" clId="{E65BD9C0-CDAC-4338-A78A-D75BAE3A8EBD}" dt="2022-02-15T18:35:35.077" v="2857"/>
          <ac:spMkLst>
            <pc:docMk/>
            <pc:sldMk cId="2087664928" sldId="314"/>
            <ac:spMk id="189" creationId="{B01DB2A9-A92F-4586-831D-33B5896BCA5C}"/>
          </ac:spMkLst>
        </pc:spChg>
        <pc:spChg chg="mod">
          <ac:chgData name="PROVENCHERE Sandrine" userId="ad1decff-d2ce-4d29-9d90-3591b80bc438" providerId="ADAL" clId="{E65BD9C0-CDAC-4338-A78A-D75BAE3A8EBD}" dt="2022-02-15T18:35:35.077" v="2854"/>
          <ac:spMkLst>
            <pc:docMk/>
            <pc:sldMk cId="2087664928" sldId="314"/>
            <ac:spMk id="190" creationId="{F5A2143A-6566-4A28-962A-36C5BC69439B}"/>
          </ac:spMkLst>
        </pc:spChg>
        <pc:spChg chg="mod">
          <ac:chgData name="PROVENCHERE Sandrine" userId="ad1decff-d2ce-4d29-9d90-3591b80bc438" providerId="ADAL" clId="{E65BD9C0-CDAC-4338-A78A-D75BAE3A8EBD}" dt="2022-02-15T18:35:35.077" v="2856"/>
          <ac:spMkLst>
            <pc:docMk/>
            <pc:sldMk cId="2087664928" sldId="314"/>
            <ac:spMk id="191" creationId="{ACEBC4E5-6B0C-4744-BF37-FAFC6AC237BE}"/>
          </ac:spMkLst>
        </pc:spChg>
        <pc:spChg chg="mod">
          <ac:chgData name="PROVENCHERE Sandrine" userId="ad1decff-d2ce-4d29-9d90-3591b80bc438" providerId="ADAL" clId="{E65BD9C0-CDAC-4338-A78A-D75BAE3A8EBD}" dt="2022-02-15T18:35:35.077" v="2855"/>
          <ac:spMkLst>
            <pc:docMk/>
            <pc:sldMk cId="2087664928" sldId="314"/>
            <ac:spMk id="192" creationId="{9F264F68-D439-43F3-A08D-DC68A263720D}"/>
          </ac:spMkLst>
        </pc:spChg>
        <pc:spChg chg="mod">
          <ac:chgData name="PROVENCHERE Sandrine" userId="ad1decff-d2ce-4d29-9d90-3591b80bc438" providerId="ADAL" clId="{E65BD9C0-CDAC-4338-A78A-D75BAE3A8EBD}" dt="2022-02-15T18:35:16.977" v="1979"/>
          <ac:spMkLst>
            <pc:docMk/>
            <pc:sldMk cId="2087664928" sldId="314"/>
            <ac:spMk id="194" creationId="{0A616563-7977-47D0-B4F3-7AE2898D4097}"/>
          </ac:spMkLst>
        </pc:spChg>
        <pc:spChg chg="mod ord">
          <ac:chgData name="PROVENCHERE Sandrine" userId="ad1decff-d2ce-4d29-9d90-3591b80bc438" providerId="ADAL" clId="{E65BD9C0-CDAC-4338-A78A-D75BAE3A8EBD}" dt="2022-02-15T18:35:16.994" v="2017"/>
          <ac:spMkLst>
            <pc:docMk/>
            <pc:sldMk cId="2087664928" sldId="314"/>
            <ac:spMk id="196" creationId="{84F31653-A97B-4861-9302-AAF39B6BE33B}"/>
          </ac:spMkLst>
        </pc:spChg>
        <pc:spChg chg="mod">
          <ac:chgData name="PROVENCHERE Sandrine" userId="ad1decff-d2ce-4d29-9d90-3591b80bc438" providerId="ADAL" clId="{E65BD9C0-CDAC-4338-A78A-D75BAE3A8EBD}" dt="2022-02-15T18:35:16.994" v="2021"/>
          <ac:spMkLst>
            <pc:docMk/>
            <pc:sldMk cId="2087664928" sldId="314"/>
            <ac:spMk id="197" creationId="{269FA514-7E09-4851-878B-A7DF41C04C12}"/>
          </ac:spMkLst>
        </pc:spChg>
        <pc:spChg chg="mod">
          <ac:chgData name="PROVENCHERE Sandrine" userId="ad1decff-d2ce-4d29-9d90-3591b80bc438" providerId="ADAL" clId="{E65BD9C0-CDAC-4338-A78A-D75BAE3A8EBD}" dt="2022-02-15T18:35:16.994" v="2009"/>
          <ac:spMkLst>
            <pc:docMk/>
            <pc:sldMk cId="2087664928" sldId="314"/>
            <ac:spMk id="198" creationId="{2CCDC18F-0248-43B2-92DE-CE2D93D2CAED}"/>
          </ac:spMkLst>
        </pc:spChg>
        <pc:spChg chg="mod">
          <ac:chgData name="PROVENCHERE Sandrine" userId="ad1decff-d2ce-4d29-9d90-3591b80bc438" providerId="ADAL" clId="{E65BD9C0-CDAC-4338-A78A-D75BAE3A8EBD}" dt="2022-02-15T18:35:16.977" v="1970"/>
          <ac:spMkLst>
            <pc:docMk/>
            <pc:sldMk cId="2087664928" sldId="314"/>
            <ac:spMk id="199" creationId="{D12FEA10-F966-47C4-B7BA-75D9F21C8E56}"/>
          </ac:spMkLst>
        </pc:spChg>
        <pc:spChg chg="mod ord">
          <ac:chgData name="PROVENCHERE Sandrine" userId="ad1decff-d2ce-4d29-9d90-3591b80bc438" providerId="ADAL" clId="{E65BD9C0-CDAC-4338-A78A-D75BAE3A8EBD}" dt="2022-02-15T18:35:16.977" v="1963"/>
          <ac:spMkLst>
            <pc:docMk/>
            <pc:sldMk cId="2087664928" sldId="314"/>
            <ac:spMk id="200" creationId="{F923AE85-757B-4385-B523-F3EC007ED840}"/>
          </ac:spMkLst>
        </pc:spChg>
        <pc:spChg chg="mod ord">
          <ac:chgData name="PROVENCHERE Sandrine" userId="ad1decff-d2ce-4d29-9d90-3591b80bc438" providerId="ADAL" clId="{E65BD9C0-CDAC-4338-A78A-D75BAE3A8EBD}" dt="2022-02-15T18:35:16.977" v="1977"/>
          <ac:spMkLst>
            <pc:docMk/>
            <pc:sldMk cId="2087664928" sldId="314"/>
            <ac:spMk id="201" creationId="{E64A26F2-ADE2-4485-B231-2EC15796C5C9}"/>
          </ac:spMkLst>
        </pc:spChg>
        <pc:spChg chg="del mod ord">
          <ac:chgData name="PROVENCHERE Sandrine" userId="ad1decff-d2ce-4d29-9d90-3591b80bc438" providerId="ADAL" clId="{E65BD9C0-CDAC-4338-A78A-D75BAE3A8EBD}" dt="2022-02-15T18:35:16.226" v="1215"/>
          <ac:spMkLst>
            <pc:docMk/>
            <pc:sldMk cId="2087664928" sldId="314"/>
            <ac:spMk id="202" creationId="{2144720E-D780-4246-81C4-BADFEA1A9980}"/>
          </ac:spMkLst>
        </pc:spChg>
        <pc:spChg chg="mod">
          <ac:chgData name="PROVENCHERE Sandrine" userId="ad1decff-d2ce-4d29-9d90-3591b80bc438" providerId="ADAL" clId="{E65BD9C0-CDAC-4338-A78A-D75BAE3A8EBD}" dt="2022-02-15T18:35:16.994" v="2024"/>
          <ac:spMkLst>
            <pc:docMk/>
            <pc:sldMk cId="2087664928" sldId="314"/>
            <ac:spMk id="205" creationId="{FF4E99C7-E06D-4BF8-8923-A237F58B3A0F}"/>
          </ac:spMkLst>
        </pc:spChg>
        <pc:spChg chg="add mod">
          <ac:chgData name="PROVENCHERE Sandrine" userId="ad1decff-d2ce-4d29-9d90-3591b80bc438" providerId="ADAL" clId="{E65BD9C0-CDAC-4338-A78A-D75BAE3A8EBD}" dt="2022-02-15T18:35:16.977" v="1971"/>
          <ac:spMkLst>
            <pc:docMk/>
            <pc:sldMk cId="2087664928" sldId="314"/>
            <ac:spMk id="206" creationId="{D6E4AC7F-02A2-4FE8-A455-80260C08DC0F}"/>
          </ac:spMkLst>
        </pc:spChg>
        <pc:spChg chg="add mod">
          <ac:chgData name="PROVENCHERE Sandrine" userId="ad1decff-d2ce-4d29-9d90-3591b80bc438" providerId="ADAL" clId="{E65BD9C0-CDAC-4338-A78A-D75BAE3A8EBD}" dt="2022-02-15T18:35:16.977" v="1965"/>
          <ac:spMkLst>
            <pc:docMk/>
            <pc:sldMk cId="2087664928" sldId="314"/>
            <ac:spMk id="207" creationId="{A2F221C0-D0AF-463D-A135-B2232F488E87}"/>
          </ac:spMkLst>
        </pc:spChg>
        <pc:spChg chg="mod">
          <ac:chgData name="PROVENCHERE Sandrine" userId="ad1decff-d2ce-4d29-9d90-3591b80bc438" providerId="ADAL" clId="{E65BD9C0-CDAC-4338-A78A-D75BAE3A8EBD}" dt="2022-02-15T18:35:16.994" v="2005"/>
          <ac:spMkLst>
            <pc:docMk/>
            <pc:sldMk cId="2087664928" sldId="314"/>
            <ac:spMk id="208" creationId="{5B994944-A03C-4359-A908-BF6DED65B008}"/>
          </ac:spMkLst>
        </pc:spChg>
        <pc:spChg chg="mod">
          <ac:chgData name="PROVENCHERE Sandrine" userId="ad1decff-d2ce-4d29-9d90-3591b80bc438" providerId="ADAL" clId="{E65BD9C0-CDAC-4338-A78A-D75BAE3A8EBD}" dt="2022-02-15T18:35:16.994" v="2006"/>
          <ac:spMkLst>
            <pc:docMk/>
            <pc:sldMk cId="2087664928" sldId="314"/>
            <ac:spMk id="209" creationId="{A8B28EDB-6ED8-4579-8290-518176A683A6}"/>
          </ac:spMkLst>
        </pc:spChg>
        <pc:spChg chg="mod">
          <ac:chgData name="PROVENCHERE Sandrine" userId="ad1decff-d2ce-4d29-9d90-3591b80bc438" providerId="ADAL" clId="{E65BD9C0-CDAC-4338-A78A-D75BAE3A8EBD}" dt="2022-02-15T18:35:16.994" v="2003"/>
          <ac:spMkLst>
            <pc:docMk/>
            <pc:sldMk cId="2087664928" sldId="314"/>
            <ac:spMk id="210" creationId="{DAB6CB2B-E08A-4815-86A0-F45034590DC7}"/>
          </ac:spMkLst>
        </pc:spChg>
        <pc:spChg chg="add mod">
          <ac:chgData name="PROVENCHERE Sandrine" userId="ad1decff-d2ce-4d29-9d90-3591b80bc438" providerId="ADAL" clId="{E65BD9C0-CDAC-4338-A78A-D75BAE3A8EBD}" dt="2022-02-15T18:35:16.977" v="1980"/>
          <ac:spMkLst>
            <pc:docMk/>
            <pc:sldMk cId="2087664928" sldId="314"/>
            <ac:spMk id="211" creationId="{CF7D9F42-3399-4236-BC35-EF59C5932FFA}"/>
          </ac:spMkLst>
        </pc:spChg>
        <pc:spChg chg="add mod">
          <ac:chgData name="PROVENCHERE Sandrine" userId="ad1decff-d2ce-4d29-9d90-3591b80bc438" providerId="ADAL" clId="{E65BD9C0-CDAC-4338-A78A-D75BAE3A8EBD}" dt="2022-02-15T18:35:16.977" v="1981"/>
          <ac:spMkLst>
            <pc:docMk/>
            <pc:sldMk cId="2087664928" sldId="314"/>
            <ac:spMk id="212" creationId="{42939826-02F9-4B2D-B9CC-C37CE3188038}"/>
          </ac:spMkLst>
        </pc:spChg>
        <pc:spChg chg="mod">
          <ac:chgData name="PROVENCHERE Sandrine" userId="ad1decff-d2ce-4d29-9d90-3591b80bc438" providerId="ADAL" clId="{E65BD9C0-CDAC-4338-A78A-D75BAE3A8EBD}" dt="2022-02-15T18:35:16.994" v="2022"/>
          <ac:spMkLst>
            <pc:docMk/>
            <pc:sldMk cId="2087664928" sldId="314"/>
            <ac:spMk id="213" creationId="{437864A9-D6E5-48E0-AC22-8B1AC2C2796D}"/>
          </ac:spMkLst>
        </pc:spChg>
        <pc:spChg chg="add mod">
          <ac:chgData name="PROVENCHERE Sandrine" userId="ad1decff-d2ce-4d29-9d90-3591b80bc438" providerId="ADAL" clId="{E65BD9C0-CDAC-4338-A78A-D75BAE3A8EBD}" dt="2022-02-15T18:35:16.977" v="1982"/>
          <ac:spMkLst>
            <pc:docMk/>
            <pc:sldMk cId="2087664928" sldId="314"/>
            <ac:spMk id="214" creationId="{9B908047-F3D4-402D-A6BA-037E1C309773}"/>
          </ac:spMkLst>
        </pc:spChg>
        <pc:spChg chg="add mod ord">
          <ac:chgData name="PROVENCHERE Sandrine" userId="ad1decff-d2ce-4d29-9d90-3591b80bc438" providerId="ADAL" clId="{E65BD9C0-CDAC-4338-A78A-D75BAE3A8EBD}" dt="2022-02-15T18:35:16.977" v="1984"/>
          <ac:spMkLst>
            <pc:docMk/>
            <pc:sldMk cId="2087664928" sldId="314"/>
            <ac:spMk id="215" creationId="{5647C691-D624-4141-AEFB-6F1A27A1C379}"/>
          </ac:spMkLst>
        </pc:spChg>
        <pc:spChg chg="add mod ord">
          <ac:chgData name="PROVENCHERE Sandrine" userId="ad1decff-d2ce-4d29-9d90-3591b80bc438" providerId="ADAL" clId="{E65BD9C0-CDAC-4338-A78A-D75BAE3A8EBD}" dt="2022-02-15T18:35:16.977" v="1986"/>
          <ac:spMkLst>
            <pc:docMk/>
            <pc:sldMk cId="2087664928" sldId="314"/>
            <ac:spMk id="216" creationId="{290CAD6D-F4E4-4236-9800-CF0B1F367229}"/>
          </ac:spMkLst>
        </pc:spChg>
        <pc:spChg chg="add mod ord">
          <ac:chgData name="PROVENCHERE Sandrine" userId="ad1decff-d2ce-4d29-9d90-3591b80bc438" providerId="ADAL" clId="{E65BD9C0-CDAC-4338-A78A-D75BAE3A8EBD}" dt="2022-02-15T18:35:16.977" v="1988"/>
          <ac:spMkLst>
            <pc:docMk/>
            <pc:sldMk cId="2087664928" sldId="314"/>
            <ac:spMk id="217" creationId="{72993A50-08E0-4CA7-9DF7-BB2AB7640F96}"/>
          </ac:spMkLst>
        </pc:spChg>
        <pc:spChg chg="mod">
          <ac:chgData name="PROVENCHERE Sandrine" userId="ad1decff-d2ce-4d29-9d90-3591b80bc438" providerId="ADAL" clId="{E65BD9C0-CDAC-4338-A78A-D75BAE3A8EBD}" dt="2022-02-15T18:35:16.994" v="2033"/>
          <ac:spMkLst>
            <pc:docMk/>
            <pc:sldMk cId="2087664928" sldId="314"/>
            <ac:spMk id="219" creationId="{1237313B-74C6-4A9C-BE55-54FA251AAA46}"/>
          </ac:spMkLst>
        </pc:spChg>
        <pc:spChg chg="mod">
          <ac:chgData name="PROVENCHERE Sandrine" userId="ad1decff-d2ce-4d29-9d90-3591b80bc438" providerId="ADAL" clId="{E65BD9C0-CDAC-4338-A78A-D75BAE3A8EBD}" dt="2022-02-15T18:35:16.994" v="2035"/>
          <ac:spMkLst>
            <pc:docMk/>
            <pc:sldMk cId="2087664928" sldId="314"/>
            <ac:spMk id="220" creationId="{D9357BDD-CA71-4441-881F-B5695BCE28FB}"/>
          </ac:spMkLst>
        </pc:spChg>
        <pc:spChg chg="mod">
          <ac:chgData name="PROVENCHERE Sandrine" userId="ad1decff-d2ce-4d29-9d90-3591b80bc438" providerId="ADAL" clId="{E65BD9C0-CDAC-4338-A78A-D75BAE3A8EBD}" dt="2022-02-15T18:35:16.994" v="2036"/>
          <ac:spMkLst>
            <pc:docMk/>
            <pc:sldMk cId="2087664928" sldId="314"/>
            <ac:spMk id="221" creationId="{124915EF-63E7-40CB-B698-47D47CF3DCCE}"/>
          </ac:spMkLst>
        </pc:spChg>
        <pc:spChg chg="mod">
          <ac:chgData name="PROVENCHERE Sandrine" userId="ad1decff-d2ce-4d29-9d90-3591b80bc438" providerId="ADAL" clId="{E65BD9C0-CDAC-4338-A78A-D75BAE3A8EBD}" dt="2022-02-15T18:35:16.994" v="2034"/>
          <ac:spMkLst>
            <pc:docMk/>
            <pc:sldMk cId="2087664928" sldId="314"/>
            <ac:spMk id="222" creationId="{CFF557F7-830D-4248-9720-030560BFA261}"/>
          </ac:spMkLst>
        </pc:spChg>
        <pc:spChg chg="mod">
          <ac:chgData name="PROVENCHERE Sandrine" userId="ad1decff-d2ce-4d29-9d90-3591b80bc438" providerId="ADAL" clId="{E65BD9C0-CDAC-4338-A78A-D75BAE3A8EBD}" dt="2022-02-15T18:35:16.994" v="2023"/>
          <ac:spMkLst>
            <pc:docMk/>
            <pc:sldMk cId="2087664928" sldId="314"/>
            <ac:spMk id="223" creationId="{28F45D01-126B-4D3B-8CA7-B7A4C3FC4C2C}"/>
          </ac:spMkLst>
        </pc:spChg>
        <pc:spChg chg="mod ord">
          <ac:chgData name="PROVENCHERE Sandrine" userId="ad1decff-d2ce-4d29-9d90-3591b80bc438" providerId="ADAL" clId="{E65BD9C0-CDAC-4338-A78A-D75BAE3A8EBD}" dt="2022-02-15T18:35:16.977" v="1967"/>
          <ac:spMkLst>
            <pc:docMk/>
            <pc:sldMk cId="2087664928" sldId="314"/>
            <ac:spMk id="225" creationId="{7C69B050-26D8-48A8-8232-9F11ABE056BE}"/>
          </ac:spMkLst>
        </pc:spChg>
        <pc:spChg chg="mod">
          <ac:chgData name="PROVENCHERE Sandrine" userId="ad1decff-d2ce-4d29-9d90-3591b80bc438" providerId="ADAL" clId="{E65BD9C0-CDAC-4338-A78A-D75BAE3A8EBD}" dt="2022-02-15T18:35:16.994" v="2004"/>
          <ac:spMkLst>
            <pc:docMk/>
            <pc:sldMk cId="2087664928" sldId="314"/>
            <ac:spMk id="230" creationId="{CF8826F4-867C-4AD5-9C44-1ADE6129DDD9}"/>
          </ac:spMkLst>
        </pc:spChg>
        <pc:spChg chg="mod ord">
          <ac:chgData name="PROVENCHERE Sandrine" userId="ad1decff-d2ce-4d29-9d90-3591b80bc438" providerId="ADAL" clId="{E65BD9C0-CDAC-4338-A78A-D75BAE3A8EBD}" dt="2022-02-15T18:35:16.994" v="2020"/>
          <ac:spMkLst>
            <pc:docMk/>
            <pc:sldMk cId="2087664928" sldId="314"/>
            <ac:spMk id="232" creationId="{ADB348D0-7624-433F-B531-E77AAD87473B}"/>
          </ac:spMkLst>
        </pc:spChg>
        <pc:spChg chg="mod ord">
          <ac:chgData name="PROVENCHERE Sandrine" userId="ad1decff-d2ce-4d29-9d90-3591b80bc438" providerId="ADAL" clId="{E65BD9C0-CDAC-4338-A78A-D75BAE3A8EBD}" dt="2022-02-15T18:35:17.009" v="2098"/>
          <ac:spMkLst>
            <pc:docMk/>
            <pc:sldMk cId="2087664928" sldId="314"/>
            <ac:spMk id="241" creationId="{60E0184D-3E44-45FF-8DCD-30320905649A}"/>
          </ac:spMkLst>
        </pc:spChg>
        <pc:spChg chg="mod ord">
          <ac:chgData name="PROVENCHERE Sandrine" userId="ad1decff-d2ce-4d29-9d90-3591b80bc438" providerId="ADAL" clId="{E65BD9C0-CDAC-4338-A78A-D75BAE3A8EBD}" dt="2022-02-15T18:35:17.009" v="2100"/>
          <ac:spMkLst>
            <pc:docMk/>
            <pc:sldMk cId="2087664928" sldId="314"/>
            <ac:spMk id="242" creationId="{CDC85699-793F-4A70-B9B6-9D55CF5F68E1}"/>
          </ac:spMkLst>
        </pc:spChg>
        <pc:spChg chg="mod">
          <ac:chgData name="PROVENCHERE Sandrine" userId="ad1decff-d2ce-4d29-9d90-3591b80bc438" providerId="ADAL" clId="{E65BD9C0-CDAC-4338-A78A-D75BAE3A8EBD}" dt="2022-02-15T18:35:16.960" v="1926"/>
          <ac:spMkLst>
            <pc:docMk/>
            <pc:sldMk cId="2087664928" sldId="314"/>
            <ac:spMk id="244" creationId="{44704398-683D-48B0-AC44-89855D366DAB}"/>
          </ac:spMkLst>
        </pc:spChg>
        <pc:spChg chg="mod ord">
          <ac:chgData name="PROVENCHERE Sandrine" userId="ad1decff-d2ce-4d29-9d90-3591b80bc438" providerId="ADAL" clId="{E65BD9C0-CDAC-4338-A78A-D75BAE3A8EBD}" dt="2022-02-15T18:35:16.994" v="2015"/>
          <ac:spMkLst>
            <pc:docMk/>
            <pc:sldMk cId="2087664928" sldId="314"/>
            <ac:spMk id="246" creationId="{5480C29B-7193-449F-A0FE-8AAB28454918}"/>
          </ac:spMkLst>
        </pc:spChg>
        <pc:spChg chg="mod ord">
          <ac:chgData name="PROVENCHERE Sandrine" userId="ad1decff-d2ce-4d29-9d90-3591b80bc438" providerId="ADAL" clId="{E65BD9C0-CDAC-4338-A78A-D75BAE3A8EBD}" dt="2022-02-15T18:35:16.960" v="1923"/>
          <ac:spMkLst>
            <pc:docMk/>
            <pc:sldMk cId="2087664928" sldId="314"/>
            <ac:spMk id="248" creationId="{D4A80F1B-4E5E-4901-A7A0-CABD12E65445}"/>
          </ac:spMkLst>
        </pc:spChg>
        <pc:spChg chg="mod">
          <ac:chgData name="PROVENCHERE Sandrine" userId="ad1decff-d2ce-4d29-9d90-3591b80bc438" providerId="ADAL" clId="{E65BD9C0-CDAC-4338-A78A-D75BAE3A8EBD}" dt="2022-02-15T18:35:16.960" v="1929"/>
          <ac:spMkLst>
            <pc:docMk/>
            <pc:sldMk cId="2087664928" sldId="314"/>
            <ac:spMk id="250" creationId="{310F3317-B6FE-436B-A317-50F2F752A604}"/>
          </ac:spMkLst>
        </pc:spChg>
        <pc:spChg chg="mod ord">
          <ac:chgData name="PROVENCHERE Sandrine" userId="ad1decff-d2ce-4d29-9d90-3591b80bc438" providerId="ADAL" clId="{E65BD9C0-CDAC-4338-A78A-D75BAE3A8EBD}" dt="2022-02-15T18:35:17.009" v="2104"/>
          <ac:spMkLst>
            <pc:docMk/>
            <pc:sldMk cId="2087664928" sldId="314"/>
            <ac:spMk id="257" creationId="{5D03E258-852E-41C6-A6E6-DDC6914F81E3}"/>
          </ac:spMkLst>
        </pc:spChg>
        <pc:spChg chg="mod ord">
          <ac:chgData name="PROVENCHERE Sandrine" userId="ad1decff-d2ce-4d29-9d90-3591b80bc438" providerId="ADAL" clId="{E65BD9C0-CDAC-4338-A78A-D75BAE3A8EBD}" dt="2022-02-15T18:35:16.960" v="1883"/>
          <ac:spMkLst>
            <pc:docMk/>
            <pc:sldMk cId="2087664928" sldId="314"/>
            <ac:spMk id="259" creationId="{23E859CE-D762-473B-A6A4-43916782E141}"/>
          </ac:spMkLst>
        </pc:spChg>
        <pc:spChg chg="mod ord">
          <ac:chgData name="PROVENCHERE Sandrine" userId="ad1decff-d2ce-4d29-9d90-3591b80bc438" providerId="ADAL" clId="{E65BD9C0-CDAC-4338-A78A-D75BAE3A8EBD}" dt="2022-02-15T18:35:16.994" v="2044"/>
          <ac:spMkLst>
            <pc:docMk/>
            <pc:sldMk cId="2087664928" sldId="314"/>
            <ac:spMk id="260" creationId="{EC730ABB-01FC-4F7B-BC43-D750336F74D7}"/>
          </ac:spMkLst>
        </pc:spChg>
        <pc:spChg chg="mod ord">
          <ac:chgData name="PROVENCHERE Sandrine" userId="ad1decff-d2ce-4d29-9d90-3591b80bc438" providerId="ADAL" clId="{E65BD9C0-CDAC-4338-A78A-D75BAE3A8EBD}" dt="2022-02-15T18:35:17.008" v="2046"/>
          <ac:spMkLst>
            <pc:docMk/>
            <pc:sldMk cId="2087664928" sldId="314"/>
            <ac:spMk id="261" creationId="{A10A4420-66C8-42DE-82D1-BEFFB2419C97}"/>
          </ac:spMkLst>
        </pc:spChg>
        <pc:spChg chg="mod ord">
          <ac:chgData name="PROVENCHERE Sandrine" userId="ad1decff-d2ce-4d29-9d90-3591b80bc438" providerId="ADAL" clId="{E65BD9C0-CDAC-4338-A78A-D75BAE3A8EBD}" dt="2022-02-15T18:35:17.008" v="2048"/>
          <ac:spMkLst>
            <pc:docMk/>
            <pc:sldMk cId="2087664928" sldId="314"/>
            <ac:spMk id="262" creationId="{37A8C09C-710F-48E5-AF07-424C5D583BDF}"/>
          </ac:spMkLst>
        </pc:spChg>
        <pc:spChg chg="mod ord">
          <ac:chgData name="PROVENCHERE Sandrine" userId="ad1decff-d2ce-4d29-9d90-3591b80bc438" providerId="ADAL" clId="{E65BD9C0-CDAC-4338-A78A-D75BAE3A8EBD}" dt="2022-02-15T18:35:17.009" v="2050"/>
          <ac:spMkLst>
            <pc:docMk/>
            <pc:sldMk cId="2087664928" sldId="314"/>
            <ac:spMk id="263" creationId="{54604176-CFA7-41D5-BE94-A3AE78B7F4C2}"/>
          </ac:spMkLst>
        </pc:spChg>
        <pc:spChg chg="mod ord">
          <ac:chgData name="PROVENCHERE Sandrine" userId="ad1decff-d2ce-4d29-9d90-3591b80bc438" providerId="ADAL" clId="{E65BD9C0-CDAC-4338-A78A-D75BAE3A8EBD}" dt="2022-02-15T18:35:17.009" v="2052"/>
          <ac:spMkLst>
            <pc:docMk/>
            <pc:sldMk cId="2087664928" sldId="314"/>
            <ac:spMk id="264" creationId="{E165D15C-4633-4830-B94D-6C1F5067BE22}"/>
          </ac:spMkLst>
        </pc:spChg>
        <pc:spChg chg="mod ord">
          <ac:chgData name="PROVENCHERE Sandrine" userId="ad1decff-d2ce-4d29-9d90-3591b80bc438" providerId="ADAL" clId="{E65BD9C0-CDAC-4338-A78A-D75BAE3A8EBD}" dt="2022-02-15T18:35:17.009" v="2106"/>
          <ac:spMkLst>
            <pc:docMk/>
            <pc:sldMk cId="2087664928" sldId="314"/>
            <ac:spMk id="267" creationId="{C49FCF00-D4FB-49DD-81EA-E4E96B6CD637}"/>
          </ac:spMkLst>
        </pc:spChg>
        <pc:spChg chg="mod ord">
          <ac:chgData name="PROVENCHERE Sandrine" userId="ad1decff-d2ce-4d29-9d90-3591b80bc438" providerId="ADAL" clId="{E65BD9C0-CDAC-4338-A78A-D75BAE3A8EBD}" dt="2022-02-15T18:35:17.009" v="2058"/>
          <ac:spMkLst>
            <pc:docMk/>
            <pc:sldMk cId="2087664928" sldId="314"/>
            <ac:spMk id="268" creationId="{6A2D1725-9C14-496A-BCDA-9B2E63233BDD}"/>
          </ac:spMkLst>
        </pc:spChg>
        <pc:spChg chg="mod ord">
          <ac:chgData name="PROVENCHERE Sandrine" userId="ad1decff-d2ce-4d29-9d90-3591b80bc438" providerId="ADAL" clId="{E65BD9C0-CDAC-4338-A78A-D75BAE3A8EBD}" dt="2022-02-15T18:35:17.009" v="2112"/>
          <ac:spMkLst>
            <pc:docMk/>
            <pc:sldMk cId="2087664928" sldId="314"/>
            <ac:spMk id="275" creationId="{F0A72C28-CB29-4FEA-85F5-C8445BB9BCEB}"/>
          </ac:spMkLst>
        </pc:spChg>
        <pc:spChg chg="mod ord">
          <ac:chgData name="PROVENCHERE Sandrine" userId="ad1decff-d2ce-4d29-9d90-3591b80bc438" providerId="ADAL" clId="{E65BD9C0-CDAC-4338-A78A-D75BAE3A8EBD}" dt="2022-02-15T18:35:17.009" v="2064"/>
          <ac:spMkLst>
            <pc:docMk/>
            <pc:sldMk cId="2087664928" sldId="314"/>
            <ac:spMk id="276" creationId="{F0E35A8C-6FA8-4F3C-8269-002FD9ACF97E}"/>
          </ac:spMkLst>
        </pc:spChg>
        <pc:spChg chg="mod ord">
          <ac:chgData name="PROVENCHERE Sandrine" userId="ad1decff-d2ce-4d29-9d90-3591b80bc438" providerId="ADAL" clId="{E65BD9C0-CDAC-4338-A78A-D75BAE3A8EBD}" dt="2022-02-15T18:35:17.009" v="2066"/>
          <ac:spMkLst>
            <pc:docMk/>
            <pc:sldMk cId="2087664928" sldId="314"/>
            <ac:spMk id="277" creationId="{5FC510A5-37A9-4F76-974D-7679B28FABBD}"/>
          </ac:spMkLst>
        </pc:spChg>
        <pc:spChg chg="mod ord">
          <ac:chgData name="PROVENCHERE Sandrine" userId="ad1decff-d2ce-4d29-9d90-3591b80bc438" providerId="ADAL" clId="{E65BD9C0-CDAC-4338-A78A-D75BAE3A8EBD}" dt="2022-02-15T18:35:17.009" v="2068"/>
          <ac:spMkLst>
            <pc:docMk/>
            <pc:sldMk cId="2087664928" sldId="314"/>
            <ac:spMk id="278" creationId="{EC78708A-7225-4B28-BF64-1C278245839A}"/>
          </ac:spMkLst>
        </pc:spChg>
        <pc:spChg chg="mod ord">
          <ac:chgData name="PROVENCHERE Sandrine" userId="ad1decff-d2ce-4d29-9d90-3591b80bc438" providerId="ADAL" clId="{E65BD9C0-CDAC-4338-A78A-D75BAE3A8EBD}" dt="2022-02-15T18:35:17.009" v="2114"/>
          <ac:spMkLst>
            <pc:docMk/>
            <pc:sldMk cId="2087664928" sldId="314"/>
            <ac:spMk id="280" creationId="{C35AFC77-FE66-442F-89EC-28FA71755578}"/>
          </ac:spMkLst>
        </pc:spChg>
        <pc:spChg chg="mod ord">
          <ac:chgData name="PROVENCHERE Sandrine" userId="ad1decff-d2ce-4d29-9d90-3591b80bc438" providerId="ADAL" clId="{E65BD9C0-CDAC-4338-A78A-D75BAE3A8EBD}" dt="2022-02-15T18:35:17.009" v="2116"/>
          <ac:spMkLst>
            <pc:docMk/>
            <pc:sldMk cId="2087664928" sldId="314"/>
            <ac:spMk id="281" creationId="{EF8EA109-00D6-48C4-B00A-A14A08926E8D}"/>
          </ac:spMkLst>
        </pc:spChg>
        <pc:spChg chg="mod ord">
          <ac:chgData name="PROVENCHERE Sandrine" userId="ad1decff-d2ce-4d29-9d90-3591b80bc438" providerId="ADAL" clId="{E65BD9C0-CDAC-4338-A78A-D75BAE3A8EBD}" dt="2022-02-15T18:35:17.009" v="2118"/>
          <ac:spMkLst>
            <pc:docMk/>
            <pc:sldMk cId="2087664928" sldId="314"/>
            <ac:spMk id="282" creationId="{1BA2E13E-34A9-444F-8511-93E90DF08A08}"/>
          </ac:spMkLst>
        </pc:spChg>
        <pc:spChg chg="mod ord">
          <ac:chgData name="PROVENCHERE Sandrine" userId="ad1decff-d2ce-4d29-9d90-3591b80bc438" providerId="ADAL" clId="{E65BD9C0-CDAC-4338-A78A-D75BAE3A8EBD}" dt="2022-02-15T18:35:16.977" v="1952"/>
          <ac:spMkLst>
            <pc:docMk/>
            <pc:sldMk cId="2087664928" sldId="314"/>
            <ac:spMk id="301" creationId="{0E222F4E-57D0-4A60-83DA-DF2D46BDC957}"/>
          </ac:spMkLst>
        </pc:spChg>
        <pc:spChg chg="mod">
          <ac:chgData name="PROVENCHERE Sandrine" userId="ad1decff-d2ce-4d29-9d90-3591b80bc438" providerId="ADAL" clId="{E65BD9C0-CDAC-4338-A78A-D75BAE3A8EBD}" dt="2022-02-15T18:35:16.977" v="1949"/>
          <ac:spMkLst>
            <pc:docMk/>
            <pc:sldMk cId="2087664928" sldId="314"/>
            <ac:spMk id="302" creationId="{792B99E9-7506-47FC-9BA8-9F1C2F6839B9}"/>
          </ac:spMkLst>
        </pc:spChg>
        <pc:spChg chg="mod ord">
          <ac:chgData name="PROVENCHERE Sandrine" userId="ad1decff-d2ce-4d29-9d90-3591b80bc438" providerId="ADAL" clId="{E65BD9C0-CDAC-4338-A78A-D75BAE3A8EBD}" dt="2022-02-15T18:35:16.977" v="1944"/>
          <ac:spMkLst>
            <pc:docMk/>
            <pc:sldMk cId="2087664928" sldId="314"/>
            <ac:spMk id="303" creationId="{E8D5E44D-9F6F-4591-A128-D45FEBB91CCE}"/>
          </ac:spMkLst>
        </pc:spChg>
        <pc:spChg chg="mod ord">
          <ac:chgData name="PROVENCHERE Sandrine" userId="ad1decff-d2ce-4d29-9d90-3591b80bc438" providerId="ADAL" clId="{E65BD9C0-CDAC-4338-A78A-D75BAE3A8EBD}" dt="2022-02-15T18:35:16.977" v="1948"/>
          <ac:spMkLst>
            <pc:docMk/>
            <pc:sldMk cId="2087664928" sldId="314"/>
            <ac:spMk id="304" creationId="{4A8310BC-D557-409B-902F-54798E9EA84E}"/>
          </ac:spMkLst>
        </pc:spChg>
        <pc:spChg chg="mod">
          <ac:chgData name="PROVENCHERE Sandrine" userId="ad1decff-d2ce-4d29-9d90-3591b80bc438" providerId="ADAL" clId="{E65BD9C0-CDAC-4338-A78A-D75BAE3A8EBD}" dt="2022-02-15T18:35:16.960" v="1927"/>
          <ac:spMkLst>
            <pc:docMk/>
            <pc:sldMk cId="2087664928" sldId="314"/>
            <ac:spMk id="318" creationId="{3FD2B578-1CA5-4839-9017-7E3EC6256711}"/>
          </ac:spMkLst>
        </pc:spChg>
        <pc:spChg chg="mod">
          <ac:chgData name="PROVENCHERE Sandrine" userId="ad1decff-d2ce-4d29-9d90-3591b80bc438" providerId="ADAL" clId="{E65BD9C0-CDAC-4338-A78A-D75BAE3A8EBD}" dt="2022-02-15T18:35:16.960" v="1924"/>
          <ac:spMkLst>
            <pc:docMk/>
            <pc:sldMk cId="2087664928" sldId="314"/>
            <ac:spMk id="321" creationId="{24A04A89-1568-403D-97E2-65DAF015C362}"/>
          </ac:spMkLst>
        </pc:spChg>
        <pc:spChg chg="mod">
          <ac:chgData name="PROVENCHERE Sandrine" userId="ad1decff-d2ce-4d29-9d90-3591b80bc438" providerId="ADAL" clId="{E65BD9C0-CDAC-4338-A78A-D75BAE3A8EBD}" dt="2022-02-15T18:35:16.960" v="1925"/>
          <ac:spMkLst>
            <pc:docMk/>
            <pc:sldMk cId="2087664928" sldId="314"/>
            <ac:spMk id="323" creationId="{5FAD09DC-1BCC-466C-A83F-7F46577C368B}"/>
          </ac:spMkLst>
        </pc:spChg>
        <pc:spChg chg="mod">
          <ac:chgData name="PROVENCHERE Sandrine" userId="ad1decff-d2ce-4d29-9d90-3591b80bc438" providerId="ADAL" clId="{E65BD9C0-CDAC-4338-A78A-D75BAE3A8EBD}" dt="2022-02-15T18:35:16.960" v="1928"/>
          <ac:spMkLst>
            <pc:docMk/>
            <pc:sldMk cId="2087664928" sldId="314"/>
            <ac:spMk id="325" creationId="{9AC11AB8-6836-4499-9807-52E88DB1F8D9}"/>
          </ac:spMkLst>
        </pc:spChg>
        <pc:spChg chg="mod">
          <ac:chgData name="PROVENCHERE Sandrine" userId="ad1decff-d2ce-4d29-9d90-3591b80bc438" providerId="ADAL" clId="{E65BD9C0-CDAC-4338-A78A-D75BAE3A8EBD}" dt="2022-02-15T18:35:16.977" v="1950"/>
          <ac:spMkLst>
            <pc:docMk/>
            <pc:sldMk cId="2087664928" sldId="314"/>
            <ac:spMk id="337" creationId="{E17B4A14-0DC6-4748-9AB0-76BA63D43833}"/>
          </ac:spMkLst>
        </pc:spChg>
        <pc:spChg chg="mod">
          <ac:chgData name="PROVENCHERE Sandrine" userId="ad1decff-d2ce-4d29-9d90-3591b80bc438" providerId="ADAL" clId="{E65BD9C0-CDAC-4338-A78A-D75BAE3A8EBD}" dt="2022-02-15T18:35:16.977" v="1945"/>
          <ac:spMkLst>
            <pc:docMk/>
            <pc:sldMk cId="2087664928" sldId="314"/>
            <ac:spMk id="350" creationId="{7C573944-9D35-4E24-908D-AB871EB87F6B}"/>
          </ac:spMkLst>
        </pc:spChg>
        <pc:spChg chg="mod">
          <ac:chgData name="PROVENCHERE Sandrine" userId="ad1decff-d2ce-4d29-9d90-3591b80bc438" providerId="ADAL" clId="{E65BD9C0-CDAC-4338-A78A-D75BAE3A8EBD}" dt="2022-02-15T18:35:16.977" v="1946"/>
          <ac:spMkLst>
            <pc:docMk/>
            <pc:sldMk cId="2087664928" sldId="314"/>
            <ac:spMk id="352" creationId="{3457CB0F-B3D8-40D5-91D2-4F9AE7D78E86}"/>
          </ac:spMkLst>
        </pc:spChg>
        <pc:spChg chg="mod ord">
          <ac:chgData name="PROVENCHERE Sandrine" userId="ad1decff-d2ce-4d29-9d90-3591b80bc438" providerId="ADAL" clId="{E65BD9C0-CDAC-4338-A78A-D75BAE3A8EBD}" dt="2022-02-15T18:35:17.009" v="2076"/>
          <ac:spMkLst>
            <pc:docMk/>
            <pc:sldMk cId="2087664928" sldId="314"/>
            <ac:spMk id="355" creationId="{C1E61069-C8CA-4019-A975-62D182A8B9CC}"/>
          </ac:spMkLst>
        </pc:spChg>
        <pc:spChg chg="mod">
          <ac:chgData name="PROVENCHERE Sandrine" userId="ad1decff-d2ce-4d29-9d90-3591b80bc438" providerId="ADAL" clId="{E65BD9C0-CDAC-4338-A78A-D75BAE3A8EBD}" dt="2022-02-15T18:35:16.977" v="1953"/>
          <ac:spMkLst>
            <pc:docMk/>
            <pc:sldMk cId="2087664928" sldId="314"/>
            <ac:spMk id="356" creationId="{D8C455AB-39E6-4CB4-BA75-E5C956AA5BD6}"/>
          </ac:spMkLst>
        </pc:spChg>
        <pc:spChg chg="mod ord">
          <ac:chgData name="PROVENCHERE Sandrine" userId="ad1decff-d2ce-4d29-9d90-3591b80bc438" providerId="ADAL" clId="{E65BD9C0-CDAC-4338-A78A-D75BAE3A8EBD}" dt="2022-02-15T18:35:17.009" v="2078"/>
          <ac:spMkLst>
            <pc:docMk/>
            <pc:sldMk cId="2087664928" sldId="314"/>
            <ac:spMk id="357" creationId="{4250E03D-4363-4E0A-85E5-48B3FEE56E02}"/>
          </ac:spMkLst>
        </pc:spChg>
        <pc:spChg chg="mod ord">
          <ac:chgData name="PROVENCHERE Sandrine" userId="ad1decff-d2ce-4d29-9d90-3591b80bc438" providerId="ADAL" clId="{E65BD9C0-CDAC-4338-A78A-D75BAE3A8EBD}" dt="2022-02-15T18:35:17.009" v="2080"/>
          <ac:spMkLst>
            <pc:docMk/>
            <pc:sldMk cId="2087664928" sldId="314"/>
            <ac:spMk id="358" creationId="{9C34914F-1284-4D25-9932-A77D91B995E9}"/>
          </ac:spMkLst>
        </pc:spChg>
        <pc:spChg chg="mod ord">
          <ac:chgData name="PROVENCHERE Sandrine" userId="ad1decff-d2ce-4d29-9d90-3591b80bc438" providerId="ADAL" clId="{E65BD9C0-CDAC-4338-A78A-D75BAE3A8EBD}" dt="2022-02-15T18:35:17.009" v="2082"/>
          <ac:spMkLst>
            <pc:docMk/>
            <pc:sldMk cId="2087664928" sldId="314"/>
            <ac:spMk id="359" creationId="{B17A55F9-3C90-4D02-B1A7-69898512B1A2}"/>
          </ac:spMkLst>
        </pc:spChg>
        <pc:spChg chg="mod ord">
          <ac:chgData name="PROVENCHERE Sandrine" userId="ad1decff-d2ce-4d29-9d90-3591b80bc438" providerId="ADAL" clId="{E65BD9C0-CDAC-4338-A78A-D75BAE3A8EBD}" dt="2022-02-15T18:35:17.009" v="2084"/>
          <ac:spMkLst>
            <pc:docMk/>
            <pc:sldMk cId="2087664928" sldId="314"/>
            <ac:spMk id="360" creationId="{19196A2D-C978-4BD8-9E36-35CF1698960A}"/>
          </ac:spMkLst>
        </pc:spChg>
        <pc:spChg chg="mod ord">
          <ac:chgData name="PROVENCHERE Sandrine" userId="ad1decff-d2ce-4d29-9d90-3591b80bc438" providerId="ADAL" clId="{E65BD9C0-CDAC-4338-A78A-D75BAE3A8EBD}" dt="2022-02-15T18:35:17.009" v="2086"/>
          <ac:spMkLst>
            <pc:docMk/>
            <pc:sldMk cId="2087664928" sldId="314"/>
            <ac:spMk id="361" creationId="{F5E423ED-6FCC-414B-84A6-82A4C6F9788A}"/>
          </ac:spMkLst>
        </pc:spChg>
        <pc:spChg chg="mod ord">
          <ac:chgData name="PROVENCHERE Sandrine" userId="ad1decff-d2ce-4d29-9d90-3591b80bc438" providerId="ADAL" clId="{E65BD9C0-CDAC-4338-A78A-D75BAE3A8EBD}" dt="2022-02-15T18:35:17.009" v="2088"/>
          <ac:spMkLst>
            <pc:docMk/>
            <pc:sldMk cId="2087664928" sldId="314"/>
            <ac:spMk id="362" creationId="{A6114E1E-91F5-478D-949C-061199671015}"/>
          </ac:spMkLst>
        </pc:spChg>
        <pc:spChg chg="mod ord">
          <ac:chgData name="PROVENCHERE Sandrine" userId="ad1decff-d2ce-4d29-9d90-3591b80bc438" providerId="ADAL" clId="{E65BD9C0-CDAC-4338-A78A-D75BAE3A8EBD}" dt="2022-02-15T18:35:17.009" v="2090"/>
          <ac:spMkLst>
            <pc:docMk/>
            <pc:sldMk cId="2087664928" sldId="314"/>
            <ac:spMk id="363" creationId="{1EE6DD91-8F5D-4718-8FF9-03E431B13210}"/>
          </ac:spMkLst>
        </pc:spChg>
        <pc:spChg chg="mod ord">
          <ac:chgData name="PROVENCHERE Sandrine" userId="ad1decff-d2ce-4d29-9d90-3591b80bc438" providerId="ADAL" clId="{E65BD9C0-CDAC-4338-A78A-D75BAE3A8EBD}" dt="2022-02-15T18:35:17.009" v="2092"/>
          <ac:spMkLst>
            <pc:docMk/>
            <pc:sldMk cId="2087664928" sldId="314"/>
            <ac:spMk id="364" creationId="{A74B8A5E-C0E5-4919-BF72-E9ADB9693DF2}"/>
          </ac:spMkLst>
        </pc:spChg>
        <pc:spChg chg="mod ord">
          <ac:chgData name="PROVENCHERE Sandrine" userId="ad1decff-d2ce-4d29-9d90-3591b80bc438" providerId="ADAL" clId="{E65BD9C0-CDAC-4338-A78A-D75BAE3A8EBD}" dt="2022-02-15T18:35:17.009" v="2094"/>
          <ac:spMkLst>
            <pc:docMk/>
            <pc:sldMk cId="2087664928" sldId="314"/>
            <ac:spMk id="365" creationId="{7950B871-6B59-452A-B8F1-129A33AC9478}"/>
          </ac:spMkLst>
        </pc:spChg>
        <pc:spChg chg="mod ord">
          <ac:chgData name="PROVENCHERE Sandrine" userId="ad1decff-d2ce-4d29-9d90-3591b80bc438" providerId="ADAL" clId="{E65BD9C0-CDAC-4338-A78A-D75BAE3A8EBD}" dt="2022-02-15T18:35:17.009" v="2096"/>
          <ac:spMkLst>
            <pc:docMk/>
            <pc:sldMk cId="2087664928" sldId="314"/>
            <ac:spMk id="366" creationId="{886E17A4-5421-4A86-A1AE-1A457E232E50}"/>
          </ac:spMkLst>
        </pc:spChg>
        <pc:spChg chg="mod">
          <ac:chgData name="PROVENCHERE Sandrine" userId="ad1decff-d2ce-4d29-9d90-3591b80bc438" providerId="ADAL" clId="{E65BD9C0-CDAC-4338-A78A-D75BAE3A8EBD}" dt="2022-02-15T18:35:16.977" v="1954"/>
          <ac:spMkLst>
            <pc:docMk/>
            <pc:sldMk cId="2087664928" sldId="314"/>
            <ac:spMk id="412" creationId="{F0D1334D-247F-479D-841F-3855BCAF0A42}"/>
          </ac:spMkLst>
        </pc:spChg>
        <pc:spChg chg="mod ord">
          <ac:chgData name="PROVENCHERE Sandrine" userId="ad1decff-d2ce-4d29-9d90-3591b80bc438" providerId="ADAL" clId="{E65BD9C0-CDAC-4338-A78A-D75BAE3A8EBD}" dt="2022-02-15T18:35:35.077" v="2858" actId="948"/>
          <ac:spMkLst>
            <pc:docMk/>
            <pc:sldMk cId="2087664928" sldId="314"/>
            <ac:spMk id="587" creationId="{7FC2D976-FF61-496E-BC30-76433C060A8D}"/>
          </ac:spMkLst>
        </pc:spChg>
        <pc:grpChg chg="mod ord">
          <ac:chgData name="PROVENCHERE Sandrine" userId="ad1decff-d2ce-4d29-9d90-3591b80bc438" providerId="ADAL" clId="{E65BD9C0-CDAC-4338-A78A-D75BAE3A8EBD}" dt="2022-02-15T18:35:17.009" v="2102"/>
          <ac:grpSpMkLst>
            <pc:docMk/>
            <pc:sldMk cId="2087664928" sldId="314"/>
            <ac:grpSpMk id="23" creationId="{0D795AFA-2D29-4CAE-B26D-3434FEF16F46}"/>
          </ac:grpSpMkLst>
        </pc:grpChg>
        <pc:grpChg chg="mod ord">
          <ac:chgData name="PROVENCHERE Sandrine" userId="ad1decff-d2ce-4d29-9d90-3591b80bc438" providerId="ADAL" clId="{E65BD9C0-CDAC-4338-A78A-D75BAE3A8EBD}" dt="2022-02-15T18:35:17.025" v="2126"/>
          <ac:grpSpMkLst>
            <pc:docMk/>
            <pc:sldMk cId="2087664928" sldId="314"/>
            <ac:grpSpMk id="182" creationId="{FCADB988-EE2C-4FDA-B90B-32204521228A}"/>
          </ac:grpSpMkLst>
        </pc:grpChg>
        <pc:grpChg chg="mod ord">
          <ac:chgData name="PROVENCHERE Sandrine" userId="ad1decff-d2ce-4d29-9d90-3591b80bc438" providerId="ADAL" clId="{E65BD9C0-CDAC-4338-A78A-D75BAE3A8EBD}" dt="2022-02-15T18:35:17.026" v="2128"/>
          <ac:grpSpMkLst>
            <pc:docMk/>
            <pc:sldMk cId="2087664928" sldId="314"/>
            <ac:grpSpMk id="185" creationId="{41A45E38-7457-4553-8E7B-ABF65F326328}"/>
          </ac:grpSpMkLst>
        </pc:grpChg>
        <pc:grpChg chg="mod ord">
          <ac:chgData name="PROVENCHERE Sandrine" userId="ad1decff-d2ce-4d29-9d90-3591b80bc438" providerId="ADAL" clId="{E65BD9C0-CDAC-4338-A78A-D75BAE3A8EBD}" dt="2022-02-15T18:35:16.994" v="2038"/>
          <ac:grpSpMkLst>
            <pc:docMk/>
            <pc:sldMk cId="2087664928" sldId="314"/>
            <ac:grpSpMk id="224" creationId="{E0E45818-B40E-4631-B714-2C9F181FC426}"/>
          </ac:grpSpMkLst>
        </pc:grpChg>
        <pc:graphicFrameChg chg="mod">
          <ac:chgData name="PROVENCHERE Sandrine" userId="ad1decff-d2ce-4d29-9d90-3591b80bc438" providerId="ADAL" clId="{E65BD9C0-CDAC-4338-A78A-D75BAE3A8EBD}" dt="2022-02-15T18:35:35.642" v="3553"/>
          <ac:graphicFrameMkLst>
            <pc:docMk/>
            <pc:sldMk cId="2087664928" sldId="314"/>
            <ac:graphicFrameMk id="6" creationId="{57E14FF0-0B68-4969-BEF0-799A891BCBC3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35:16.977" v="1942"/>
          <ac:graphicFrameMkLst>
            <pc:docMk/>
            <pc:sldMk cId="2087664928" sldId="314"/>
            <ac:graphicFrameMk id="176" creationId="{21B041E7-BE8F-40BF-9E82-52B7EF89D578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35:17.026" v="2129"/>
          <ac:graphicFrameMkLst>
            <pc:docMk/>
            <pc:sldMk cId="2087664928" sldId="314"/>
            <ac:graphicFrameMk id="193" creationId="{4A9F05B8-4C61-41AD-B6FE-012BC0EA6717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35:17.027" v="2132"/>
          <ac:graphicFrameMkLst>
            <pc:docMk/>
            <pc:sldMk cId="2087664928" sldId="314"/>
            <ac:graphicFrameMk id="195" creationId="{2EFAD91C-BAC7-4F15-859B-7DC7BBC5D264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35:16.853" v="1806"/>
          <ac:graphicFrameMkLst>
            <pc:docMk/>
            <pc:sldMk cId="2087664928" sldId="314"/>
            <ac:graphicFrameMk id="203" creationId="{ADE22B7B-EA0E-4967-BA0B-214630B7F41C}"/>
          </ac:graphicFrameMkLst>
        </pc:graphicFrameChg>
        <pc:graphicFrameChg chg="del">
          <ac:chgData name="PROVENCHERE Sandrine" userId="ad1decff-d2ce-4d29-9d90-3591b80bc438" providerId="ADAL" clId="{E65BD9C0-CDAC-4338-A78A-D75BAE3A8EBD}" dt="2022-02-15T18:35:00.876" v="881"/>
          <ac:graphicFrameMkLst>
            <pc:docMk/>
            <pc:sldMk cId="2087664928" sldId="314"/>
            <ac:graphicFrameMk id="204" creationId="{DD59D782-051B-438E-894A-703B47308381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5T18:35:16.977" v="1959"/>
          <ac:graphicFrameMkLst>
            <pc:docMk/>
            <pc:sldMk cId="2087664928" sldId="314"/>
            <ac:graphicFrameMk id="218" creationId="{21B282E1-2772-4896-89C1-AB219F3D1254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35:16.994" v="2001"/>
          <ac:graphicFrameMkLst>
            <pc:docMk/>
            <pc:sldMk cId="2087664928" sldId="314"/>
            <ac:graphicFrameMk id="228" creationId="{07D45906-7679-4FD6-9CC1-7565BEE8B18D}"/>
          </ac:graphicFrameMkLst>
        </pc:graphicFrameChg>
        <pc:graphicFrameChg chg="mod ord">
          <ac:chgData name="PROVENCHERE Sandrine" userId="ad1decff-d2ce-4d29-9d90-3591b80bc438" providerId="ADAL" clId="{E65BD9C0-CDAC-4338-A78A-D75BAE3A8EBD}" dt="2022-02-15T18:35:17.009" v="2120"/>
          <ac:graphicFrameMkLst>
            <pc:docMk/>
            <pc:sldMk cId="2087664928" sldId="314"/>
            <ac:graphicFrameMk id="298" creationId="{D64DE84F-2B82-44CB-9B61-C15425C39929}"/>
          </ac:graphicFrameMkLst>
        </pc:graphicFrameChg>
        <pc:graphicFrameChg chg="mod ord">
          <ac:chgData name="PROVENCHERE Sandrine" userId="ad1decff-d2ce-4d29-9d90-3591b80bc438" providerId="ADAL" clId="{E65BD9C0-CDAC-4338-A78A-D75BAE3A8EBD}" dt="2022-02-15T18:35:17.009" v="2122"/>
          <ac:graphicFrameMkLst>
            <pc:docMk/>
            <pc:sldMk cId="2087664928" sldId="314"/>
            <ac:graphicFrameMk id="299" creationId="{E6D899DD-271A-4BA2-B71A-FFD985AC4795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35:16.960" v="1921"/>
          <ac:graphicFrameMkLst>
            <pc:docMk/>
            <pc:sldMk cId="2087664928" sldId="314"/>
            <ac:graphicFrameMk id="307" creationId="{FF304146-B410-4690-82CE-B49E1CA7529E}"/>
          </ac:graphicFrameMkLst>
        </pc:graphicFrameChg>
        <pc:picChg chg="mod ord">
          <ac:chgData name="PROVENCHERE Sandrine" userId="ad1decff-d2ce-4d29-9d90-3591b80bc438" providerId="ADAL" clId="{E65BD9C0-CDAC-4338-A78A-D75BAE3A8EBD}" dt="2022-02-15T18:35:16.960" v="1907"/>
          <ac:picMkLst>
            <pc:docMk/>
            <pc:sldMk cId="2087664928" sldId="314"/>
            <ac:picMk id="163" creationId="{3BC3DAD2-8ED9-424E-A55E-E1890FE3F429}"/>
          </ac:picMkLst>
        </pc:picChg>
        <pc:picChg chg="mod ord">
          <ac:chgData name="PROVENCHERE Sandrine" userId="ad1decff-d2ce-4d29-9d90-3591b80bc438" providerId="ADAL" clId="{E65BD9C0-CDAC-4338-A78A-D75BAE3A8EBD}" dt="2022-02-15T18:35:16.994" v="2040"/>
          <ac:picMkLst>
            <pc:docMk/>
            <pc:sldMk cId="2087664928" sldId="314"/>
            <ac:picMk id="226" creationId="{E5904904-D88F-4CF1-9C77-B7E09E7CCC4B}"/>
          </ac:picMkLst>
        </pc:picChg>
        <pc:picChg chg="mod ord">
          <ac:chgData name="PROVENCHERE Sandrine" userId="ad1decff-d2ce-4d29-9d90-3591b80bc438" providerId="ADAL" clId="{E65BD9C0-CDAC-4338-A78A-D75BAE3A8EBD}" dt="2022-02-15T18:35:16.994" v="2042"/>
          <ac:picMkLst>
            <pc:docMk/>
            <pc:sldMk cId="2087664928" sldId="314"/>
            <ac:picMk id="235" creationId="{220EB096-C32C-4AF7-B8C4-9BEADBE025D0}"/>
          </ac:picMkLst>
        </pc:picChg>
        <pc:picChg chg="mod ord">
          <ac:chgData name="PROVENCHERE Sandrine" userId="ad1decff-d2ce-4d29-9d90-3591b80bc438" providerId="ADAL" clId="{E65BD9C0-CDAC-4338-A78A-D75BAE3A8EBD}" dt="2022-02-15T18:35:17.009" v="2054"/>
          <ac:picMkLst>
            <pc:docMk/>
            <pc:sldMk cId="2087664928" sldId="314"/>
            <ac:picMk id="265" creationId="{5B0D0375-7556-4333-AD89-10E3CDB44481}"/>
          </ac:picMkLst>
        </pc:picChg>
        <pc:picChg chg="mod ord">
          <ac:chgData name="PROVENCHERE Sandrine" userId="ad1decff-d2ce-4d29-9d90-3591b80bc438" providerId="ADAL" clId="{E65BD9C0-CDAC-4338-A78A-D75BAE3A8EBD}" dt="2022-02-15T18:35:17.009" v="2056"/>
          <ac:picMkLst>
            <pc:docMk/>
            <pc:sldMk cId="2087664928" sldId="314"/>
            <ac:picMk id="266" creationId="{D9C302AC-93BF-45BC-ABEA-BA155C880603}"/>
          </ac:picMkLst>
        </pc:picChg>
        <pc:picChg chg="mod ord">
          <ac:chgData name="PROVENCHERE Sandrine" userId="ad1decff-d2ce-4d29-9d90-3591b80bc438" providerId="ADAL" clId="{E65BD9C0-CDAC-4338-A78A-D75BAE3A8EBD}" dt="2022-02-15T18:35:17.009" v="2108"/>
          <ac:picMkLst>
            <pc:docMk/>
            <pc:sldMk cId="2087664928" sldId="314"/>
            <ac:picMk id="273" creationId="{3183903A-232E-4403-9435-C409F6B2FB05}"/>
          </ac:picMkLst>
        </pc:picChg>
        <pc:picChg chg="mod ord">
          <ac:chgData name="PROVENCHERE Sandrine" userId="ad1decff-d2ce-4d29-9d90-3591b80bc438" providerId="ADAL" clId="{E65BD9C0-CDAC-4338-A78A-D75BAE3A8EBD}" dt="2022-02-15T18:35:17.009" v="2110"/>
          <ac:picMkLst>
            <pc:docMk/>
            <pc:sldMk cId="2087664928" sldId="314"/>
            <ac:picMk id="274" creationId="{F522400D-D672-4F8A-B425-4DD291EE6AD4}"/>
          </ac:picMkLst>
        </pc:picChg>
        <pc:picChg chg="mod ord">
          <ac:chgData name="PROVENCHERE Sandrine" userId="ad1decff-d2ce-4d29-9d90-3591b80bc438" providerId="ADAL" clId="{E65BD9C0-CDAC-4338-A78A-D75BAE3A8EBD}" dt="2022-02-15T18:35:16.960" v="1895"/>
          <ac:picMkLst>
            <pc:docMk/>
            <pc:sldMk cId="2087664928" sldId="314"/>
            <ac:picMk id="288" creationId="{E97DC373-C2F1-4407-B1E9-062788795879}"/>
          </ac:picMkLst>
        </pc:picChg>
        <pc:picChg chg="mod ord">
          <ac:chgData name="PROVENCHERE Sandrine" userId="ad1decff-d2ce-4d29-9d90-3591b80bc438" providerId="ADAL" clId="{E65BD9C0-CDAC-4338-A78A-D75BAE3A8EBD}" dt="2022-02-15T18:35:16.960" v="1897"/>
          <ac:picMkLst>
            <pc:docMk/>
            <pc:sldMk cId="2087664928" sldId="314"/>
            <ac:picMk id="289" creationId="{D3A2FE86-7E4C-444A-AF3A-E5EE7E89CA36}"/>
          </ac:picMkLst>
        </pc:picChg>
        <pc:picChg chg="mod ord">
          <ac:chgData name="PROVENCHERE Sandrine" userId="ad1decff-d2ce-4d29-9d90-3591b80bc438" providerId="ADAL" clId="{E65BD9C0-CDAC-4338-A78A-D75BAE3A8EBD}" dt="2022-02-15T18:35:17.009" v="2070"/>
          <ac:picMkLst>
            <pc:docMk/>
            <pc:sldMk cId="2087664928" sldId="314"/>
            <ac:picMk id="330" creationId="{7291A2C6-1F44-433E-8D67-8E5FDED700D8}"/>
          </ac:picMkLst>
        </pc:picChg>
        <pc:picChg chg="mod ord">
          <ac:chgData name="PROVENCHERE Sandrine" userId="ad1decff-d2ce-4d29-9d90-3591b80bc438" providerId="ADAL" clId="{E65BD9C0-CDAC-4338-A78A-D75BAE3A8EBD}" dt="2022-02-15T18:35:17.009" v="2072"/>
          <ac:picMkLst>
            <pc:docMk/>
            <pc:sldMk cId="2087664928" sldId="314"/>
            <ac:picMk id="331" creationId="{07776989-3012-448A-B792-6035EC30C0C7}"/>
          </ac:picMkLst>
        </pc:picChg>
        <pc:picChg chg="mod ord">
          <ac:chgData name="PROVENCHERE Sandrine" userId="ad1decff-d2ce-4d29-9d90-3591b80bc438" providerId="ADAL" clId="{E65BD9C0-CDAC-4338-A78A-D75BAE3A8EBD}" dt="2022-02-15T18:35:16.960" v="1881"/>
          <ac:picMkLst>
            <pc:docMk/>
            <pc:sldMk cId="2087664928" sldId="314"/>
            <ac:picMk id="628" creationId="{28B31F95-BE17-4F95-B08B-A75F5988F9D5}"/>
          </ac:picMkLst>
        </pc:picChg>
        <pc:cxnChg chg="mod ord">
          <ac:chgData name="PROVENCHERE Sandrine" userId="ad1decff-d2ce-4d29-9d90-3591b80bc438" providerId="ADAL" clId="{E65BD9C0-CDAC-4338-A78A-D75BAE3A8EBD}" dt="2022-02-15T18:35:16.992" v="1990"/>
          <ac:cxnSpMkLst>
            <pc:docMk/>
            <pc:sldMk cId="2087664928" sldId="314"/>
            <ac:cxnSpMk id="4" creationId="{ED80DA2B-47C8-47B1-AFB7-5FC763270831}"/>
          </ac:cxnSpMkLst>
        </pc:cxnChg>
        <pc:cxnChg chg="mod ord">
          <ac:chgData name="PROVENCHERE Sandrine" userId="ad1decff-d2ce-4d29-9d90-3591b80bc438" providerId="ADAL" clId="{E65BD9C0-CDAC-4338-A78A-D75BAE3A8EBD}" dt="2022-02-15T18:35:17.026" v="2131"/>
          <ac:cxnSpMkLst>
            <pc:docMk/>
            <pc:sldMk cId="2087664928" sldId="314"/>
            <ac:cxnSpMk id="7" creationId="{62A22F70-FB03-456A-83CB-014703592A3E}"/>
          </ac:cxnSpMkLst>
        </pc:cxnChg>
        <pc:cxnChg chg="mod ord">
          <ac:chgData name="PROVENCHERE Sandrine" userId="ad1decff-d2ce-4d29-9d90-3591b80bc438" providerId="ADAL" clId="{E65BD9C0-CDAC-4338-A78A-D75BAE3A8EBD}" dt="2022-02-15T18:35:16.993" v="1994"/>
          <ac:cxnSpMkLst>
            <pc:docMk/>
            <pc:sldMk cId="2087664928" sldId="314"/>
            <ac:cxnSpMk id="12" creationId="{6F679206-3DC2-4012-8017-4B807F48499C}"/>
          </ac:cxnSpMkLst>
        </pc:cxnChg>
        <pc:cxnChg chg="mod ord">
          <ac:chgData name="PROVENCHERE Sandrine" userId="ad1decff-d2ce-4d29-9d90-3591b80bc438" providerId="ADAL" clId="{E65BD9C0-CDAC-4338-A78A-D75BAE3A8EBD}" dt="2022-02-15T18:35:16.993" v="1996"/>
          <ac:cxnSpMkLst>
            <pc:docMk/>
            <pc:sldMk cId="2087664928" sldId="314"/>
            <ac:cxnSpMk id="14" creationId="{D49100A0-C151-4CA3-A7BC-FD2749A72A3C}"/>
          </ac:cxnSpMkLst>
        </pc:cxnChg>
        <pc:cxnChg chg="mod ord">
          <ac:chgData name="PROVENCHERE Sandrine" userId="ad1decff-d2ce-4d29-9d90-3591b80bc438" providerId="ADAL" clId="{E65BD9C0-CDAC-4338-A78A-D75BAE3A8EBD}" dt="2022-02-15T18:35:16.992" v="1992"/>
          <ac:cxnSpMkLst>
            <pc:docMk/>
            <pc:sldMk cId="2087664928" sldId="314"/>
            <ac:cxnSpMk id="15" creationId="{F5F2A09A-D365-4B86-BDF7-F29A39758932}"/>
          </ac:cxnSpMkLst>
        </pc:cxnChg>
        <pc:cxnChg chg="mod ord">
          <ac:chgData name="PROVENCHERE Sandrine" userId="ad1decff-d2ce-4d29-9d90-3591b80bc438" providerId="ADAL" clId="{E65BD9C0-CDAC-4338-A78A-D75BAE3A8EBD}" dt="2022-02-15T18:35:16.994" v="2026"/>
          <ac:cxnSpMkLst>
            <pc:docMk/>
            <pc:sldMk cId="2087664928" sldId="314"/>
            <ac:cxnSpMk id="24" creationId="{11B8B09D-36B8-4ACE-8D68-500FE4CE1F92}"/>
          </ac:cxnSpMkLst>
        </pc:cxnChg>
        <pc:cxnChg chg="mod ord">
          <ac:chgData name="PROVENCHERE Sandrine" userId="ad1decff-d2ce-4d29-9d90-3591b80bc438" providerId="ADAL" clId="{E65BD9C0-CDAC-4338-A78A-D75BAE3A8EBD}" dt="2022-02-15T18:35:16.994" v="2032"/>
          <ac:cxnSpMkLst>
            <pc:docMk/>
            <pc:sldMk cId="2087664928" sldId="314"/>
            <ac:cxnSpMk id="26" creationId="{41AA9206-C201-4B98-9269-0A817B3170CA}"/>
          </ac:cxnSpMkLst>
        </pc:cxnChg>
        <pc:cxnChg chg="mod ord">
          <ac:chgData name="PROVENCHERE Sandrine" userId="ad1decff-d2ce-4d29-9d90-3591b80bc438" providerId="ADAL" clId="{E65BD9C0-CDAC-4338-A78A-D75BAE3A8EBD}" dt="2022-02-15T18:35:16.994" v="2030"/>
          <ac:cxnSpMkLst>
            <pc:docMk/>
            <pc:sldMk cId="2087664928" sldId="314"/>
            <ac:cxnSpMk id="27" creationId="{8B3CAAB4-9345-46D6-90B7-F1DFD5C4CE33}"/>
          </ac:cxnSpMkLst>
        </pc:cxnChg>
        <pc:cxnChg chg="mod ord">
          <ac:chgData name="PROVENCHERE Sandrine" userId="ad1decff-d2ce-4d29-9d90-3591b80bc438" providerId="ADAL" clId="{E65BD9C0-CDAC-4338-A78A-D75BAE3A8EBD}" dt="2022-02-15T18:35:16.994" v="2028"/>
          <ac:cxnSpMkLst>
            <pc:docMk/>
            <pc:sldMk cId="2087664928" sldId="314"/>
            <ac:cxnSpMk id="29" creationId="{648A47E9-1630-478E-B25C-4F567BC60775}"/>
          </ac:cxnSpMkLst>
        </pc:cxnChg>
        <pc:cxnChg chg="mod ord">
          <ac:chgData name="PROVENCHERE Sandrine" userId="ad1decff-d2ce-4d29-9d90-3591b80bc438" providerId="ADAL" clId="{E65BD9C0-CDAC-4338-A78A-D75BAE3A8EBD}" dt="2022-02-15T18:35:16.960" v="1911"/>
          <ac:cxnSpMkLst>
            <pc:docMk/>
            <pc:sldMk cId="2087664928" sldId="314"/>
            <ac:cxnSpMk id="236" creationId="{AA1FDE45-0B9D-4D01-B3C9-677FB72BB1FD}"/>
          </ac:cxnSpMkLst>
        </pc:cxnChg>
        <pc:cxnChg chg="mod ord">
          <ac:chgData name="PROVENCHERE Sandrine" userId="ad1decff-d2ce-4d29-9d90-3591b80bc438" providerId="ADAL" clId="{E65BD9C0-CDAC-4338-A78A-D75BAE3A8EBD}" dt="2022-02-15T18:35:16.960" v="1913"/>
          <ac:cxnSpMkLst>
            <pc:docMk/>
            <pc:sldMk cId="2087664928" sldId="314"/>
            <ac:cxnSpMk id="237" creationId="{7465A2B5-A087-41D9-BDCF-605FFF5D9968}"/>
          </ac:cxnSpMkLst>
        </pc:cxnChg>
        <pc:cxnChg chg="mod ord">
          <ac:chgData name="PROVENCHERE Sandrine" userId="ad1decff-d2ce-4d29-9d90-3591b80bc438" providerId="ADAL" clId="{E65BD9C0-CDAC-4338-A78A-D75BAE3A8EBD}" dt="2022-02-15T18:35:16.960" v="1915"/>
          <ac:cxnSpMkLst>
            <pc:docMk/>
            <pc:sldMk cId="2087664928" sldId="314"/>
            <ac:cxnSpMk id="238" creationId="{E9D357AF-B119-44D4-A938-72657FD66F59}"/>
          </ac:cxnSpMkLst>
        </pc:cxnChg>
        <pc:cxnChg chg="mod ord">
          <ac:chgData name="PROVENCHERE Sandrine" userId="ad1decff-d2ce-4d29-9d90-3591b80bc438" providerId="ADAL" clId="{E65BD9C0-CDAC-4338-A78A-D75BAE3A8EBD}" dt="2022-02-15T18:35:16.960" v="1917"/>
          <ac:cxnSpMkLst>
            <pc:docMk/>
            <pc:sldMk cId="2087664928" sldId="314"/>
            <ac:cxnSpMk id="239" creationId="{13F1A2BD-C98E-43DB-8866-363DC24BF961}"/>
          </ac:cxnSpMkLst>
        </pc:cxnChg>
        <pc:cxnChg chg="mod ord">
          <ac:chgData name="PROVENCHERE Sandrine" userId="ad1decff-d2ce-4d29-9d90-3591b80bc438" providerId="ADAL" clId="{E65BD9C0-CDAC-4338-A78A-D75BAE3A8EBD}" dt="2022-02-15T18:35:16.960" v="1919"/>
          <ac:cxnSpMkLst>
            <pc:docMk/>
            <pc:sldMk cId="2087664928" sldId="314"/>
            <ac:cxnSpMk id="240" creationId="{128DD387-22BD-42A3-B808-54C04F58229B}"/>
          </ac:cxnSpMkLst>
        </pc:cxnChg>
        <pc:cxnChg chg="mod ord">
          <ac:chgData name="PROVENCHERE Sandrine" userId="ad1decff-d2ce-4d29-9d90-3591b80bc438" providerId="ADAL" clId="{E65BD9C0-CDAC-4338-A78A-D75BAE3A8EBD}" dt="2022-02-15T18:35:16.960" v="1931"/>
          <ac:cxnSpMkLst>
            <pc:docMk/>
            <pc:sldMk cId="2087664928" sldId="314"/>
            <ac:cxnSpMk id="258" creationId="{E8E7019A-5327-4CE4-BFA7-3C388DC4E25E}"/>
          </ac:cxnSpMkLst>
        </pc:cxnChg>
        <pc:cxnChg chg="mod ord">
          <ac:chgData name="PROVENCHERE Sandrine" userId="ad1decff-d2ce-4d29-9d90-3591b80bc438" providerId="ADAL" clId="{E65BD9C0-CDAC-4338-A78A-D75BAE3A8EBD}" dt="2022-02-15T18:35:17.027" v="2134"/>
          <ac:cxnSpMkLst>
            <pc:docMk/>
            <pc:sldMk cId="2087664928" sldId="314"/>
            <ac:cxnSpMk id="279" creationId="{96EB7270-1670-4F9D-A817-68DA75900D78}"/>
          </ac:cxnSpMkLst>
        </pc:cxnChg>
        <pc:cxnChg chg="mod ord">
          <ac:chgData name="PROVENCHERE Sandrine" userId="ad1decff-d2ce-4d29-9d90-3591b80bc438" providerId="ADAL" clId="{E65BD9C0-CDAC-4338-A78A-D75BAE3A8EBD}" dt="2022-02-15T18:35:16.960" v="1933"/>
          <ac:cxnSpMkLst>
            <pc:docMk/>
            <pc:sldMk cId="2087664928" sldId="314"/>
            <ac:cxnSpMk id="286" creationId="{792D639D-417A-4350-96F5-6C3B528BEBB9}"/>
          </ac:cxnSpMkLst>
        </pc:cxnChg>
        <pc:cxnChg chg="mod ord">
          <ac:chgData name="PROVENCHERE Sandrine" userId="ad1decff-d2ce-4d29-9d90-3591b80bc438" providerId="ADAL" clId="{E65BD9C0-CDAC-4338-A78A-D75BAE3A8EBD}" dt="2022-02-15T18:35:16.975" v="1935"/>
          <ac:cxnSpMkLst>
            <pc:docMk/>
            <pc:sldMk cId="2087664928" sldId="314"/>
            <ac:cxnSpMk id="292" creationId="{4EB1CD05-6D2E-4B27-BE3A-C5D18551CFBC}"/>
          </ac:cxnSpMkLst>
        </pc:cxnChg>
        <pc:cxnChg chg="mod ord">
          <ac:chgData name="PROVENCHERE Sandrine" userId="ad1decff-d2ce-4d29-9d90-3591b80bc438" providerId="ADAL" clId="{E65BD9C0-CDAC-4338-A78A-D75BAE3A8EBD}" dt="2022-02-15T18:35:16.976" v="1937"/>
          <ac:cxnSpMkLst>
            <pc:docMk/>
            <pc:sldMk cId="2087664928" sldId="314"/>
            <ac:cxnSpMk id="293" creationId="{3BD8CEDC-D973-47B5-AC94-45DBAEF262DA}"/>
          </ac:cxnSpMkLst>
        </pc:cxnChg>
        <pc:cxnChg chg="mod ord">
          <ac:chgData name="PROVENCHERE Sandrine" userId="ad1decff-d2ce-4d29-9d90-3591b80bc438" providerId="ADAL" clId="{E65BD9C0-CDAC-4338-A78A-D75BAE3A8EBD}" dt="2022-02-15T18:35:16.977" v="1939"/>
          <ac:cxnSpMkLst>
            <pc:docMk/>
            <pc:sldMk cId="2087664928" sldId="314"/>
            <ac:cxnSpMk id="294" creationId="{4A4D7B39-E4E5-49A1-9AFF-D7FD943668B1}"/>
          </ac:cxnSpMkLst>
        </pc:cxnChg>
        <pc:cxnChg chg="mod ord">
          <ac:chgData name="PROVENCHERE Sandrine" userId="ad1decff-d2ce-4d29-9d90-3591b80bc438" providerId="ADAL" clId="{E65BD9C0-CDAC-4338-A78A-D75BAE3A8EBD}" dt="2022-02-15T18:35:16.977" v="1941"/>
          <ac:cxnSpMkLst>
            <pc:docMk/>
            <pc:sldMk cId="2087664928" sldId="314"/>
            <ac:cxnSpMk id="295" creationId="{74B4828D-8D30-402D-8676-15BCB2E86513}"/>
          </ac:cxnSpMkLst>
        </pc:cxnChg>
        <pc:cxnChg chg="mod ord">
          <ac:chgData name="PROVENCHERE Sandrine" userId="ad1decff-d2ce-4d29-9d90-3591b80bc438" providerId="ADAL" clId="{E65BD9C0-CDAC-4338-A78A-D75BAE3A8EBD}" dt="2022-02-15T18:35:17.009" v="2124"/>
          <ac:cxnSpMkLst>
            <pc:docMk/>
            <pc:sldMk cId="2087664928" sldId="314"/>
            <ac:cxnSpMk id="300" creationId="{49301923-45A2-4EFD-8E4B-5AD618109A8D}"/>
          </ac:cxnSpMkLst>
        </pc:cxnChg>
        <pc:cxnChg chg="mod ord">
          <ac:chgData name="PROVENCHERE Sandrine" userId="ad1decff-d2ce-4d29-9d90-3591b80bc438" providerId="ADAL" clId="{E65BD9C0-CDAC-4338-A78A-D75BAE3A8EBD}" dt="2022-02-15T18:35:16.960" v="1899"/>
          <ac:cxnSpMkLst>
            <pc:docMk/>
            <pc:sldMk cId="2087664928" sldId="314"/>
            <ac:cxnSpMk id="320" creationId="{F605B200-D509-4610-9158-195EB3354579}"/>
          </ac:cxnSpMkLst>
        </pc:cxnChg>
      </pc:sldChg>
      <pc:sldChg chg="addSp delSp modSp add del mod">
        <pc:chgData name="PROVENCHERE Sandrine" userId="ad1decff-d2ce-4d29-9d90-3591b80bc438" providerId="ADAL" clId="{E65BD9C0-CDAC-4338-A78A-D75BAE3A8EBD}" dt="2022-02-15T18:51:51.024" v="9581" actId="2696"/>
        <pc:sldMkLst>
          <pc:docMk/>
          <pc:sldMk cId="982076584" sldId="315"/>
        </pc:sldMkLst>
        <pc:spChg chg="add del mod modVis">
          <ac:chgData name="PROVENCHERE Sandrine" userId="ad1decff-d2ce-4d29-9d90-3591b80bc438" providerId="ADAL" clId="{E65BD9C0-CDAC-4338-A78A-D75BAE3A8EBD}" dt="2022-02-15T18:35:32.786" v="2774"/>
          <ac:spMkLst>
            <pc:docMk/>
            <pc:sldMk cId="982076584" sldId="315"/>
            <ac:spMk id="2" creationId="{BB882322-28E9-471F-AB47-55B20B469058}"/>
          </ac:spMkLst>
        </pc:spChg>
        <pc:spChg chg="mod ord">
          <ac:chgData name="PROVENCHERE Sandrine" userId="ad1decff-d2ce-4d29-9d90-3591b80bc438" providerId="ADAL" clId="{E65BD9C0-CDAC-4338-A78A-D75BAE3A8EBD}" dt="2022-02-15T18:49:18.857" v="8222"/>
          <ac:spMkLst>
            <pc:docMk/>
            <pc:sldMk cId="982076584" sldId="315"/>
            <ac:spMk id="3" creationId="{7123C9CD-0DB3-4CF8-A58B-E9B01F7752F7}"/>
          </ac:spMkLst>
        </pc:spChg>
        <pc:spChg chg="mod ord">
          <ac:chgData name="PROVENCHERE Sandrine" userId="ad1decff-d2ce-4d29-9d90-3591b80bc438" providerId="ADAL" clId="{E65BD9C0-CDAC-4338-A78A-D75BAE3A8EBD}" dt="2022-02-15T18:49:18.776" v="8041"/>
          <ac:spMkLst>
            <pc:docMk/>
            <pc:sldMk cId="982076584" sldId="315"/>
            <ac:spMk id="5" creationId="{10A373AB-AD61-4AED-871E-8986A038C3B1}"/>
          </ac:spMkLst>
        </pc:spChg>
        <pc:spChg chg="mod ord">
          <ac:chgData name="PROVENCHERE Sandrine" userId="ad1decff-d2ce-4d29-9d90-3591b80bc438" providerId="ADAL" clId="{E65BD9C0-CDAC-4338-A78A-D75BAE3A8EBD}" dt="2022-02-15T18:49:18.858" v="8234"/>
          <ac:spMkLst>
            <pc:docMk/>
            <pc:sldMk cId="982076584" sldId="315"/>
            <ac:spMk id="8" creationId="{0F248677-2B3B-4D33-8092-A63747D709D5}"/>
          </ac:spMkLst>
        </pc:spChg>
        <pc:spChg chg="add del mod modVis">
          <ac:chgData name="PROVENCHERE Sandrine" userId="ad1decff-d2ce-4d29-9d90-3591b80bc438" providerId="ADAL" clId="{E65BD9C0-CDAC-4338-A78A-D75BAE3A8EBD}" dt="2022-02-15T18:35:35.642" v="3555"/>
          <ac:spMkLst>
            <pc:docMk/>
            <pc:sldMk cId="982076584" sldId="315"/>
            <ac:spMk id="9" creationId="{26EA7D77-DE47-4FA5-B012-544162990379}"/>
          </ac:spMkLst>
        </pc:spChg>
        <pc:spChg chg="mod ord">
          <ac:chgData name="PROVENCHERE Sandrine" userId="ad1decff-d2ce-4d29-9d90-3591b80bc438" providerId="ADAL" clId="{E65BD9C0-CDAC-4338-A78A-D75BAE3A8EBD}" dt="2022-02-15T18:49:18.792" v="8049"/>
          <ac:spMkLst>
            <pc:docMk/>
            <pc:sldMk cId="982076584" sldId="315"/>
            <ac:spMk id="10" creationId="{00000000-0000-0000-0000-000000000000}"/>
          </ac:spMkLst>
        </pc:spChg>
        <pc:spChg chg="mod ord">
          <ac:chgData name="PROVENCHERE Sandrine" userId="ad1decff-d2ce-4d29-9d90-3591b80bc438" providerId="ADAL" clId="{E65BD9C0-CDAC-4338-A78A-D75BAE3A8EBD}" dt="2022-02-15T18:49:18.791" v="8047"/>
          <ac:spMkLst>
            <pc:docMk/>
            <pc:sldMk cId="982076584" sldId="315"/>
            <ac:spMk id="11" creationId="{00000000-0000-0000-0000-000000000000}"/>
          </ac:spMkLst>
        </pc:spChg>
        <pc:spChg chg="add del mod modVis">
          <ac:chgData name="PROVENCHERE Sandrine" userId="ad1decff-d2ce-4d29-9d90-3591b80bc438" providerId="ADAL" clId="{E65BD9C0-CDAC-4338-A78A-D75BAE3A8EBD}" dt="2022-02-15T18:36:36.280" v="4208"/>
          <ac:spMkLst>
            <pc:docMk/>
            <pc:sldMk cId="982076584" sldId="315"/>
            <ac:spMk id="13" creationId="{D73BDFB3-EA65-4612-96E0-5554C4638FB8}"/>
          </ac:spMkLst>
        </pc:spChg>
        <pc:spChg chg="mod ord">
          <ac:chgData name="PROVENCHERE Sandrine" userId="ad1decff-d2ce-4d29-9d90-3591b80bc438" providerId="ADAL" clId="{E65BD9C0-CDAC-4338-A78A-D75BAE3A8EBD}" dt="2022-02-15T18:49:18.792" v="8051"/>
          <ac:spMkLst>
            <pc:docMk/>
            <pc:sldMk cId="982076584" sldId="315"/>
            <ac:spMk id="16" creationId="{00000000-0000-0000-0000-000000000000}"/>
          </ac:spMkLst>
        </pc:spChg>
        <pc:spChg chg="mod ord">
          <ac:chgData name="PROVENCHERE Sandrine" userId="ad1decff-d2ce-4d29-9d90-3591b80bc438" providerId="ADAL" clId="{E65BD9C0-CDAC-4338-A78A-D75BAE3A8EBD}" dt="2022-02-15T18:49:18.792" v="8053"/>
          <ac:spMkLst>
            <pc:docMk/>
            <pc:sldMk cId="982076584" sldId="315"/>
            <ac:spMk id="17" creationId="{00000000-0000-0000-0000-000000000000}"/>
          </ac:spMkLst>
        </pc:spChg>
        <pc:spChg chg="mod ord">
          <ac:chgData name="PROVENCHERE Sandrine" userId="ad1decff-d2ce-4d29-9d90-3591b80bc438" providerId="ADAL" clId="{E65BD9C0-CDAC-4338-A78A-D75BAE3A8EBD}" dt="2022-02-15T18:49:18.792" v="8065"/>
          <ac:spMkLst>
            <pc:docMk/>
            <pc:sldMk cId="982076584" sldId="315"/>
            <ac:spMk id="18" creationId="{C818D617-BDA1-4FA4-AD0B-655F50438613}"/>
          </ac:spMkLst>
        </pc:spChg>
        <pc:spChg chg="mod ord">
          <ac:chgData name="PROVENCHERE Sandrine" userId="ad1decff-d2ce-4d29-9d90-3591b80bc438" providerId="ADAL" clId="{E65BD9C0-CDAC-4338-A78A-D75BAE3A8EBD}" dt="2022-02-15T18:49:18.792" v="8067"/>
          <ac:spMkLst>
            <pc:docMk/>
            <pc:sldMk cId="982076584" sldId="315"/>
            <ac:spMk id="19" creationId="{13034FE2-4385-4DCF-B23C-99CE479BC164}"/>
          </ac:spMkLst>
        </pc:spChg>
        <pc:spChg chg="add del mod modVis">
          <ac:chgData name="PROVENCHERE Sandrine" userId="ad1decff-d2ce-4d29-9d90-3591b80bc438" providerId="ADAL" clId="{E65BD9C0-CDAC-4338-A78A-D75BAE3A8EBD}" dt="2022-02-15T18:36:47.309" v="4539"/>
          <ac:spMkLst>
            <pc:docMk/>
            <pc:sldMk cId="982076584" sldId="315"/>
            <ac:spMk id="20" creationId="{8EBC1708-D032-4AA2-AA4A-EEFCA7B9F6DD}"/>
          </ac:spMkLst>
        </pc:spChg>
        <pc:spChg chg="add del mod modVis">
          <ac:chgData name="PROVENCHERE Sandrine" userId="ad1decff-d2ce-4d29-9d90-3591b80bc438" providerId="ADAL" clId="{E65BD9C0-CDAC-4338-A78A-D75BAE3A8EBD}" dt="2022-02-15T18:37:14.859" v="5762"/>
          <ac:spMkLst>
            <pc:docMk/>
            <pc:sldMk cId="982076584" sldId="315"/>
            <ac:spMk id="21" creationId="{13A00550-F1A5-4327-B51C-8F530311A4EF}"/>
          </ac:spMkLst>
        </pc:spChg>
        <pc:spChg chg="mod">
          <ac:chgData name="PROVENCHERE Sandrine" userId="ad1decff-d2ce-4d29-9d90-3591b80bc438" providerId="ADAL" clId="{E65BD9C0-CDAC-4338-A78A-D75BAE3A8EBD}" dt="2022-02-15T18:49:18.792" v="8082"/>
          <ac:spMkLst>
            <pc:docMk/>
            <pc:sldMk cId="982076584" sldId="315"/>
            <ac:spMk id="22" creationId="{FD42C964-3FB1-4BC5-9068-C1E186698C9E}"/>
          </ac:spMkLst>
        </pc:spChg>
        <pc:spChg chg="add del mod modVis">
          <ac:chgData name="PROVENCHERE Sandrine" userId="ad1decff-d2ce-4d29-9d90-3591b80bc438" providerId="ADAL" clId="{E65BD9C0-CDAC-4338-A78A-D75BAE3A8EBD}" dt="2022-02-15T18:38:54.467" v="6363"/>
          <ac:spMkLst>
            <pc:docMk/>
            <pc:sldMk cId="982076584" sldId="315"/>
            <ac:spMk id="25" creationId="{3216C825-3486-4FB2-B46F-D305C96AEF7C}"/>
          </ac:spMkLst>
        </pc:spChg>
        <pc:spChg chg="add del mod modVis">
          <ac:chgData name="PROVENCHERE Sandrine" userId="ad1decff-d2ce-4d29-9d90-3591b80bc438" providerId="ADAL" clId="{E65BD9C0-CDAC-4338-A78A-D75BAE3A8EBD}" dt="2022-02-15T18:38:59.958" v="7586"/>
          <ac:spMkLst>
            <pc:docMk/>
            <pc:sldMk cId="982076584" sldId="315"/>
            <ac:spMk id="28" creationId="{818D0173-7581-4943-B487-1B11EA729DA2}"/>
          </ac:spMkLst>
        </pc:spChg>
        <pc:spChg chg="add del mod modVis">
          <ac:chgData name="PROVENCHERE Sandrine" userId="ad1decff-d2ce-4d29-9d90-3591b80bc438" providerId="ADAL" clId="{E65BD9C0-CDAC-4338-A78A-D75BAE3A8EBD}" dt="2022-02-15T18:51:29.940" v="8390"/>
          <ac:spMkLst>
            <pc:docMk/>
            <pc:sldMk cId="982076584" sldId="315"/>
            <ac:spMk id="30" creationId="{C73B37FB-4ECD-4E1F-ABA9-FB5981FA6277}"/>
          </ac:spMkLst>
        </pc:spChg>
        <pc:spChg chg="mod ord">
          <ac:chgData name="PROVENCHERE Sandrine" userId="ad1decff-d2ce-4d29-9d90-3591b80bc438" providerId="ADAL" clId="{E65BD9C0-CDAC-4338-A78A-D75BAE3A8EBD}" dt="2022-02-15T18:49:18.792" v="8055"/>
          <ac:spMkLst>
            <pc:docMk/>
            <pc:sldMk cId="982076584" sldId="315"/>
            <ac:spMk id="34" creationId="{6C637BB9-5738-4644-B55B-C7F69DDAAE70}"/>
          </ac:spMkLst>
        </pc:spChg>
        <pc:spChg chg="mod ord">
          <ac:chgData name="PROVENCHERE Sandrine" userId="ad1decff-d2ce-4d29-9d90-3591b80bc438" providerId="ADAL" clId="{E65BD9C0-CDAC-4338-A78A-D75BAE3A8EBD}" dt="2022-02-15T18:49:18.792" v="8071"/>
          <ac:spMkLst>
            <pc:docMk/>
            <pc:sldMk cId="982076584" sldId="315"/>
            <ac:spMk id="138" creationId="{D7F57ED2-D42E-4509-B433-A35419661A4D}"/>
          </ac:spMkLst>
        </pc:spChg>
        <pc:spChg chg="mod ord">
          <ac:chgData name="PROVENCHERE Sandrine" userId="ad1decff-d2ce-4d29-9d90-3591b80bc438" providerId="ADAL" clId="{E65BD9C0-CDAC-4338-A78A-D75BAE3A8EBD}" dt="2022-02-15T18:49:18.808" v="8118"/>
          <ac:spMkLst>
            <pc:docMk/>
            <pc:sldMk cId="982076584" sldId="315"/>
            <ac:spMk id="144" creationId="{6722C45A-27DD-4C98-B534-7A0593FA8238}"/>
          </ac:spMkLst>
        </pc:spChg>
        <pc:spChg chg="mod ord">
          <ac:chgData name="PROVENCHERE Sandrine" userId="ad1decff-d2ce-4d29-9d90-3591b80bc438" providerId="ADAL" clId="{E65BD9C0-CDAC-4338-A78A-D75BAE3A8EBD}" dt="2022-02-15T18:49:18.808" v="8120"/>
          <ac:spMkLst>
            <pc:docMk/>
            <pc:sldMk cId="982076584" sldId="315"/>
            <ac:spMk id="145" creationId="{38454F27-009D-49D5-824E-8B8829526155}"/>
          </ac:spMkLst>
        </pc:spChg>
        <pc:spChg chg="del mod">
          <ac:chgData name="PROVENCHERE Sandrine" userId="ad1decff-d2ce-4d29-9d90-3591b80bc438" providerId="ADAL" clId="{E65BD9C0-CDAC-4338-A78A-D75BAE3A8EBD}" dt="2022-02-15T18:36:47.026" v="4217"/>
          <ac:spMkLst>
            <pc:docMk/>
            <pc:sldMk cId="982076584" sldId="315"/>
            <ac:spMk id="156" creationId="{FFB1ADF8-FC39-450E-8713-51E84E19C50B}"/>
          </ac:spMkLst>
        </pc:spChg>
        <pc:spChg chg="del mod">
          <ac:chgData name="PROVENCHERE Sandrine" userId="ad1decff-d2ce-4d29-9d90-3591b80bc438" providerId="ADAL" clId="{E65BD9C0-CDAC-4338-A78A-D75BAE3A8EBD}" dt="2022-02-15T18:35:34.949" v="2783"/>
          <ac:spMkLst>
            <pc:docMk/>
            <pc:sldMk cId="982076584" sldId="315"/>
            <ac:spMk id="157" creationId="{FB7A7D5C-429B-42F4-B257-D107BFE0E02D}"/>
          </ac:spMkLst>
        </pc:spChg>
        <pc:spChg chg="del mod">
          <ac:chgData name="PROVENCHERE Sandrine" userId="ad1decff-d2ce-4d29-9d90-3591b80bc438" providerId="ADAL" clId="{E65BD9C0-CDAC-4338-A78A-D75BAE3A8EBD}" dt="2022-02-15T18:36:47.026" v="4211"/>
          <ac:spMkLst>
            <pc:docMk/>
            <pc:sldMk cId="982076584" sldId="315"/>
            <ac:spMk id="164" creationId="{7B64E7BF-CF59-4648-94EB-7A74AD3D5C0D}"/>
          </ac:spMkLst>
        </pc:spChg>
        <pc:spChg chg="del mod">
          <ac:chgData name="PROVENCHERE Sandrine" userId="ad1decff-d2ce-4d29-9d90-3591b80bc438" providerId="ADAL" clId="{E65BD9C0-CDAC-4338-A78A-D75BAE3A8EBD}" dt="2022-02-15T18:38:54.194" v="6038"/>
          <ac:spMkLst>
            <pc:docMk/>
            <pc:sldMk cId="982076584" sldId="315"/>
            <ac:spMk id="165" creationId="{72493A5C-7BE1-449E-A5BA-C58C77C4D6A1}"/>
          </ac:spMkLst>
        </pc:spChg>
        <pc:spChg chg="del mod">
          <ac:chgData name="PROVENCHERE Sandrine" userId="ad1decff-d2ce-4d29-9d90-3591b80bc438" providerId="ADAL" clId="{E65BD9C0-CDAC-4338-A78A-D75BAE3A8EBD}" dt="2022-02-15T18:38:54.208" v="6042"/>
          <ac:spMkLst>
            <pc:docMk/>
            <pc:sldMk cId="982076584" sldId="315"/>
            <ac:spMk id="166" creationId="{10133404-69A2-4C5A-AFCF-BBAD1E9D1CC7}"/>
          </ac:spMkLst>
        </pc:spChg>
        <pc:spChg chg="del mod">
          <ac:chgData name="PROVENCHERE Sandrine" userId="ad1decff-d2ce-4d29-9d90-3591b80bc438" providerId="ADAL" clId="{E65BD9C0-CDAC-4338-A78A-D75BAE3A8EBD}" dt="2022-02-15T18:36:47.026" v="4213"/>
          <ac:spMkLst>
            <pc:docMk/>
            <pc:sldMk cId="982076584" sldId="315"/>
            <ac:spMk id="167" creationId="{1EE0F536-1CDA-4CA8-B758-F9EB93AD4D7E}"/>
          </ac:spMkLst>
        </pc:spChg>
        <pc:spChg chg="del mod">
          <ac:chgData name="PROVENCHERE Sandrine" userId="ad1decff-d2ce-4d29-9d90-3591b80bc438" providerId="ADAL" clId="{E65BD9C0-CDAC-4338-A78A-D75BAE3A8EBD}" dt="2022-02-15T18:36:47.026" v="4212"/>
          <ac:spMkLst>
            <pc:docMk/>
            <pc:sldMk cId="982076584" sldId="315"/>
            <ac:spMk id="168" creationId="{256E1423-A209-48D4-AFF3-8C76C5F02B1E}"/>
          </ac:spMkLst>
        </pc:spChg>
        <pc:spChg chg="del mod">
          <ac:chgData name="PROVENCHERE Sandrine" userId="ad1decff-d2ce-4d29-9d90-3591b80bc438" providerId="ADAL" clId="{E65BD9C0-CDAC-4338-A78A-D75BAE3A8EBD}" dt="2022-02-15T18:36:47.026" v="4214"/>
          <ac:spMkLst>
            <pc:docMk/>
            <pc:sldMk cId="982076584" sldId="315"/>
            <ac:spMk id="169" creationId="{93D26106-91A6-4BA4-92EB-AC4980D93D44}"/>
          </ac:spMkLst>
        </pc:spChg>
        <pc:spChg chg="mod ord">
          <ac:chgData name="PROVENCHERE Sandrine" userId="ad1decff-d2ce-4d29-9d90-3591b80bc438" providerId="ADAL" clId="{E65BD9C0-CDAC-4338-A78A-D75BAE3A8EBD}" dt="2022-02-15T18:49:18.808" v="8129"/>
          <ac:spMkLst>
            <pc:docMk/>
            <pc:sldMk cId="982076584" sldId="315"/>
            <ac:spMk id="171" creationId="{243149C3-F9D2-4D9A-B60A-073600B15D7B}"/>
          </ac:spMkLst>
        </pc:spChg>
        <pc:spChg chg="mod ord">
          <ac:chgData name="PROVENCHERE Sandrine" userId="ad1decff-d2ce-4d29-9d90-3591b80bc438" providerId="ADAL" clId="{E65BD9C0-CDAC-4338-A78A-D75BAE3A8EBD}" dt="2022-02-15T18:49:18.808" v="8131"/>
          <ac:spMkLst>
            <pc:docMk/>
            <pc:sldMk cId="982076584" sldId="315"/>
            <ac:spMk id="172" creationId="{D6213BE2-F83F-42F2-AEF3-1C7E0C020E0C}"/>
          </ac:spMkLst>
        </pc:spChg>
        <pc:spChg chg="del mod">
          <ac:chgData name="PROVENCHERE Sandrine" userId="ad1decff-d2ce-4d29-9d90-3591b80bc438" providerId="ADAL" clId="{E65BD9C0-CDAC-4338-A78A-D75BAE3A8EBD}" dt="2022-02-15T18:36:47.026" v="4219"/>
          <ac:spMkLst>
            <pc:docMk/>
            <pc:sldMk cId="982076584" sldId="315"/>
            <ac:spMk id="173" creationId="{7DB56D33-38DD-4C6B-AC78-566A167A3FEC}"/>
          </ac:spMkLst>
        </pc:spChg>
        <pc:spChg chg="del mod">
          <ac:chgData name="PROVENCHERE Sandrine" userId="ad1decff-d2ce-4d29-9d90-3591b80bc438" providerId="ADAL" clId="{E65BD9C0-CDAC-4338-A78A-D75BAE3A8EBD}" dt="2022-02-15T18:38:54.194" v="6037"/>
          <ac:spMkLst>
            <pc:docMk/>
            <pc:sldMk cId="982076584" sldId="315"/>
            <ac:spMk id="174" creationId="{030F21D3-A9A5-47DD-8F6A-1F8E23FCB6A2}"/>
          </ac:spMkLst>
        </pc:spChg>
        <pc:spChg chg="del mod ord">
          <ac:chgData name="PROVENCHERE Sandrine" userId="ad1decff-d2ce-4d29-9d90-3591b80bc438" providerId="ADAL" clId="{E65BD9C0-CDAC-4338-A78A-D75BAE3A8EBD}" dt="2022-02-15T18:35:34.943" v="2778"/>
          <ac:spMkLst>
            <pc:docMk/>
            <pc:sldMk cId="982076584" sldId="315"/>
            <ac:spMk id="175" creationId="{2F8499CF-F49D-461C-BD71-574CC84B301F}"/>
          </ac:spMkLst>
        </pc:spChg>
        <pc:spChg chg="add del mod">
          <ac:chgData name="PROVENCHERE Sandrine" userId="ad1decff-d2ce-4d29-9d90-3591b80bc438" providerId="ADAL" clId="{E65BD9C0-CDAC-4338-A78A-D75BAE3A8EBD}" dt="2022-02-15T18:38:54.209" v="6044"/>
          <ac:spMkLst>
            <pc:docMk/>
            <pc:sldMk cId="982076584" sldId="315"/>
            <ac:spMk id="177" creationId="{9CAF4E25-D197-45E4-ADED-DE58F3E745F5}"/>
          </ac:spMkLst>
        </pc:spChg>
        <pc:spChg chg="del mod ord">
          <ac:chgData name="PROVENCHERE Sandrine" userId="ad1decff-d2ce-4d29-9d90-3591b80bc438" providerId="ADAL" clId="{E65BD9C0-CDAC-4338-A78A-D75BAE3A8EBD}" dt="2022-02-15T18:35:35.425" v="3163"/>
          <ac:spMkLst>
            <pc:docMk/>
            <pc:sldMk cId="982076584" sldId="315"/>
            <ac:spMk id="178" creationId="{CADEE7B2-857C-45C5-9C95-0F75246A8880}"/>
          </ac:spMkLst>
        </pc:spChg>
        <pc:spChg chg="add del mod">
          <ac:chgData name="PROVENCHERE Sandrine" userId="ad1decff-d2ce-4d29-9d90-3591b80bc438" providerId="ADAL" clId="{E65BD9C0-CDAC-4338-A78A-D75BAE3A8EBD}" dt="2022-02-15T18:38:54.209" v="6046"/>
          <ac:spMkLst>
            <pc:docMk/>
            <pc:sldMk cId="982076584" sldId="315"/>
            <ac:spMk id="179" creationId="{B01B29AB-3DA6-4E54-B6D3-A3109F8DB647}"/>
          </ac:spMkLst>
        </pc:spChg>
        <pc:spChg chg="add del mod">
          <ac:chgData name="PROVENCHERE Sandrine" userId="ad1decff-d2ce-4d29-9d90-3591b80bc438" providerId="ADAL" clId="{E65BD9C0-CDAC-4338-A78A-D75BAE3A8EBD}" dt="2022-02-15T18:38:54.209" v="6047"/>
          <ac:spMkLst>
            <pc:docMk/>
            <pc:sldMk cId="982076584" sldId="315"/>
            <ac:spMk id="180" creationId="{A9135E92-892C-4CF3-A877-341771957007}"/>
          </ac:spMkLst>
        </pc:spChg>
        <pc:spChg chg="add del mod">
          <ac:chgData name="PROVENCHERE Sandrine" userId="ad1decff-d2ce-4d29-9d90-3591b80bc438" providerId="ADAL" clId="{E65BD9C0-CDAC-4338-A78A-D75BAE3A8EBD}" dt="2022-02-15T18:38:54.209" v="6048"/>
          <ac:spMkLst>
            <pc:docMk/>
            <pc:sldMk cId="982076584" sldId="315"/>
            <ac:spMk id="181" creationId="{3532B9A1-C3C6-4CB1-817A-F0A9F99FA7B3}"/>
          </ac:spMkLst>
        </pc:spChg>
        <pc:spChg chg="mod ord">
          <ac:chgData name="PROVENCHERE Sandrine" userId="ad1decff-d2ce-4d29-9d90-3591b80bc438" providerId="ADAL" clId="{E65BD9C0-CDAC-4338-A78A-D75BAE3A8EBD}" dt="2022-02-15T18:49:18.845" v="8220"/>
          <ac:spMkLst>
            <pc:docMk/>
            <pc:sldMk cId="982076584" sldId="315"/>
            <ac:spMk id="187" creationId="{2BBCB42D-7904-4000-802F-1AF38302679F}"/>
          </ac:spMkLst>
        </pc:spChg>
        <pc:spChg chg="mod">
          <ac:chgData name="PROVENCHERE Sandrine" userId="ad1decff-d2ce-4d29-9d90-3591b80bc438" providerId="ADAL" clId="{E65BD9C0-CDAC-4338-A78A-D75BAE3A8EBD}" dt="2022-02-15T18:51:36.974" v="8924"/>
          <ac:spMkLst>
            <pc:docMk/>
            <pc:sldMk cId="982076584" sldId="315"/>
            <ac:spMk id="189" creationId="{B01DB2A9-A92F-4586-831D-33B5896BCA5C}"/>
          </ac:spMkLst>
        </pc:spChg>
        <pc:spChg chg="mod">
          <ac:chgData name="PROVENCHERE Sandrine" userId="ad1decff-d2ce-4d29-9d90-3591b80bc438" providerId="ADAL" clId="{E65BD9C0-CDAC-4338-A78A-D75BAE3A8EBD}" dt="2022-02-15T18:51:36.958" v="8921"/>
          <ac:spMkLst>
            <pc:docMk/>
            <pc:sldMk cId="982076584" sldId="315"/>
            <ac:spMk id="190" creationId="{F5A2143A-6566-4A28-962A-36C5BC69439B}"/>
          </ac:spMkLst>
        </pc:spChg>
        <pc:spChg chg="mod">
          <ac:chgData name="PROVENCHERE Sandrine" userId="ad1decff-d2ce-4d29-9d90-3591b80bc438" providerId="ADAL" clId="{E65BD9C0-CDAC-4338-A78A-D75BAE3A8EBD}" dt="2022-02-15T18:51:36.974" v="8923"/>
          <ac:spMkLst>
            <pc:docMk/>
            <pc:sldMk cId="982076584" sldId="315"/>
            <ac:spMk id="191" creationId="{ACEBC4E5-6B0C-4744-BF37-FAFC6AC237BE}"/>
          </ac:spMkLst>
        </pc:spChg>
        <pc:spChg chg="mod">
          <ac:chgData name="PROVENCHERE Sandrine" userId="ad1decff-d2ce-4d29-9d90-3591b80bc438" providerId="ADAL" clId="{E65BD9C0-CDAC-4338-A78A-D75BAE3A8EBD}" dt="2022-02-15T18:51:36.974" v="8922"/>
          <ac:spMkLst>
            <pc:docMk/>
            <pc:sldMk cId="982076584" sldId="315"/>
            <ac:spMk id="192" creationId="{9F264F68-D439-43F3-A08D-DC68A263720D}"/>
          </ac:spMkLst>
        </pc:spChg>
        <pc:spChg chg="del mod">
          <ac:chgData name="PROVENCHERE Sandrine" userId="ad1decff-d2ce-4d29-9d90-3591b80bc438" providerId="ADAL" clId="{E65BD9C0-CDAC-4338-A78A-D75BAE3A8EBD}" dt="2022-02-15T18:36:47.026" v="4218"/>
          <ac:spMkLst>
            <pc:docMk/>
            <pc:sldMk cId="982076584" sldId="315"/>
            <ac:spMk id="194" creationId="{0A616563-7977-47D0-B4F3-7AE2898D4097}"/>
          </ac:spMkLst>
        </pc:spChg>
        <pc:spChg chg="mod ord">
          <ac:chgData name="PROVENCHERE Sandrine" userId="ad1decff-d2ce-4d29-9d90-3591b80bc438" providerId="ADAL" clId="{E65BD9C0-CDAC-4338-A78A-D75BAE3A8EBD}" dt="2022-02-15T18:49:18.825" v="8169"/>
          <ac:spMkLst>
            <pc:docMk/>
            <pc:sldMk cId="982076584" sldId="315"/>
            <ac:spMk id="196" creationId="{84F31653-A97B-4861-9302-AAF39B6BE33B}"/>
          </ac:spMkLst>
        </pc:spChg>
        <pc:spChg chg="del mod">
          <ac:chgData name="PROVENCHERE Sandrine" userId="ad1decff-d2ce-4d29-9d90-3591b80bc438" providerId="ADAL" clId="{E65BD9C0-CDAC-4338-A78A-D75BAE3A8EBD}" dt="2022-02-15T18:38:54.194" v="6040"/>
          <ac:spMkLst>
            <pc:docMk/>
            <pc:sldMk cId="982076584" sldId="315"/>
            <ac:spMk id="197" creationId="{269FA514-7E09-4851-878B-A7DF41C04C12}"/>
          </ac:spMkLst>
        </pc:spChg>
        <pc:spChg chg="del mod">
          <ac:chgData name="PROVENCHERE Sandrine" userId="ad1decff-d2ce-4d29-9d90-3591b80bc438" providerId="ADAL" clId="{E65BD9C0-CDAC-4338-A78A-D75BAE3A8EBD}" dt="2022-02-15T18:35:34.948" v="2782"/>
          <ac:spMkLst>
            <pc:docMk/>
            <pc:sldMk cId="982076584" sldId="315"/>
            <ac:spMk id="198" creationId="{2CCDC18F-0248-43B2-92DE-CE2D93D2CAED}"/>
          </ac:spMkLst>
        </pc:spChg>
        <pc:spChg chg="del mod">
          <ac:chgData name="PROVENCHERE Sandrine" userId="ad1decff-d2ce-4d29-9d90-3591b80bc438" providerId="ADAL" clId="{E65BD9C0-CDAC-4338-A78A-D75BAE3A8EBD}" dt="2022-02-15T18:36:47.026" v="4216"/>
          <ac:spMkLst>
            <pc:docMk/>
            <pc:sldMk cId="982076584" sldId="315"/>
            <ac:spMk id="199" creationId="{D12FEA10-F966-47C4-B7BA-75D9F21C8E56}"/>
          </ac:spMkLst>
        </pc:spChg>
        <pc:spChg chg="mod ord">
          <ac:chgData name="PROVENCHERE Sandrine" userId="ad1decff-d2ce-4d29-9d90-3591b80bc438" providerId="ADAL" clId="{E65BD9C0-CDAC-4338-A78A-D75BAE3A8EBD}" dt="2022-02-15T18:49:18.808" v="8127"/>
          <ac:spMkLst>
            <pc:docMk/>
            <pc:sldMk cId="982076584" sldId="315"/>
            <ac:spMk id="200" creationId="{F923AE85-757B-4385-B523-F3EC007ED840}"/>
          </ac:spMkLst>
        </pc:spChg>
        <pc:spChg chg="mod ord">
          <ac:chgData name="PROVENCHERE Sandrine" userId="ad1decff-d2ce-4d29-9d90-3591b80bc438" providerId="ADAL" clId="{E65BD9C0-CDAC-4338-A78A-D75BAE3A8EBD}" dt="2022-02-15T18:49:18.808" v="8133"/>
          <ac:spMkLst>
            <pc:docMk/>
            <pc:sldMk cId="982076584" sldId="315"/>
            <ac:spMk id="201" creationId="{E64A26F2-ADE2-4485-B231-2EC15796C5C9}"/>
          </ac:spMkLst>
        </pc:spChg>
        <pc:spChg chg="add del mod">
          <ac:chgData name="PROVENCHERE Sandrine" userId="ad1decff-d2ce-4d29-9d90-3591b80bc438" providerId="ADAL" clId="{E65BD9C0-CDAC-4338-A78A-D75BAE3A8EBD}" dt="2022-02-15T18:38:54.209" v="6049"/>
          <ac:spMkLst>
            <pc:docMk/>
            <pc:sldMk cId="982076584" sldId="315"/>
            <ac:spMk id="202" creationId="{ACBCEFF4-1464-499F-9902-1F1BBA30E5A0}"/>
          </ac:spMkLst>
        </pc:spChg>
        <pc:spChg chg="add mod ord">
          <ac:chgData name="PROVENCHERE Sandrine" userId="ad1decff-d2ce-4d29-9d90-3591b80bc438" providerId="ADAL" clId="{E65BD9C0-CDAC-4338-A78A-D75BAE3A8EBD}" dt="2022-02-15T18:49:18.825" v="8171"/>
          <ac:spMkLst>
            <pc:docMk/>
            <pc:sldMk cId="982076584" sldId="315"/>
            <ac:spMk id="203" creationId="{EE53142E-3EDC-4077-92D1-24CB8C675BAF}"/>
          </ac:spMkLst>
        </pc:spChg>
        <pc:spChg chg="del mod">
          <ac:chgData name="PROVENCHERE Sandrine" userId="ad1decff-d2ce-4d29-9d90-3591b80bc438" providerId="ADAL" clId="{E65BD9C0-CDAC-4338-A78A-D75BAE3A8EBD}" dt="2022-02-15T18:38:54.209" v="6045"/>
          <ac:spMkLst>
            <pc:docMk/>
            <pc:sldMk cId="982076584" sldId="315"/>
            <ac:spMk id="205" creationId="{FF4E99C7-E06D-4BF8-8923-A237F58B3A0F}"/>
          </ac:spMkLst>
        </pc:spChg>
        <pc:spChg chg="del mod">
          <ac:chgData name="PROVENCHERE Sandrine" userId="ad1decff-d2ce-4d29-9d90-3591b80bc438" providerId="ADAL" clId="{E65BD9C0-CDAC-4338-A78A-D75BAE3A8EBD}" dt="2022-02-15T18:36:47.026" v="4215"/>
          <ac:spMkLst>
            <pc:docMk/>
            <pc:sldMk cId="982076584" sldId="315"/>
            <ac:spMk id="206" creationId="{D6E4AC7F-02A2-4FE8-A455-80260C08DC0F}"/>
          </ac:spMkLst>
        </pc:spChg>
        <pc:spChg chg="del mod">
          <ac:chgData name="PROVENCHERE Sandrine" userId="ad1decff-d2ce-4d29-9d90-3591b80bc438" providerId="ADAL" clId="{E65BD9C0-CDAC-4338-A78A-D75BAE3A8EBD}" dt="2022-02-15T18:36:47.026" v="4220"/>
          <ac:spMkLst>
            <pc:docMk/>
            <pc:sldMk cId="982076584" sldId="315"/>
            <ac:spMk id="207" creationId="{A2F221C0-D0AF-463D-A135-B2232F488E87}"/>
          </ac:spMkLst>
        </pc:spChg>
        <pc:spChg chg="del mod">
          <ac:chgData name="PROVENCHERE Sandrine" userId="ad1decff-d2ce-4d29-9d90-3591b80bc438" providerId="ADAL" clId="{E65BD9C0-CDAC-4338-A78A-D75BAE3A8EBD}" dt="2022-02-15T18:35:34.946" v="2779"/>
          <ac:spMkLst>
            <pc:docMk/>
            <pc:sldMk cId="982076584" sldId="315"/>
            <ac:spMk id="208" creationId="{5B994944-A03C-4359-A908-BF6DED65B008}"/>
          </ac:spMkLst>
        </pc:spChg>
        <pc:spChg chg="del mod">
          <ac:chgData name="PROVENCHERE Sandrine" userId="ad1decff-d2ce-4d29-9d90-3591b80bc438" providerId="ADAL" clId="{E65BD9C0-CDAC-4338-A78A-D75BAE3A8EBD}" dt="2022-02-15T18:35:34.946" v="2780"/>
          <ac:spMkLst>
            <pc:docMk/>
            <pc:sldMk cId="982076584" sldId="315"/>
            <ac:spMk id="209" creationId="{A8B28EDB-6ED8-4579-8290-518176A683A6}"/>
          </ac:spMkLst>
        </pc:spChg>
        <pc:spChg chg="del mod">
          <ac:chgData name="PROVENCHERE Sandrine" userId="ad1decff-d2ce-4d29-9d90-3591b80bc438" providerId="ADAL" clId="{E65BD9C0-CDAC-4338-A78A-D75BAE3A8EBD}" dt="2022-02-15T18:35:34.947" v="2781"/>
          <ac:spMkLst>
            <pc:docMk/>
            <pc:sldMk cId="982076584" sldId="315"/>
            <ac:spMk id="210" creationId="{DAB6CB2B-E08A-4815-86A0-F45034590DC7}"/>
          </ac:spMkLst>
        </pc:spChg>
        <pc:spChg chg="del mod">
          <ac:chgData name="PROVENCHERE Sandrine" userId="ad1decff-d2ce-4d29-9d90-3591b80bc438" providerId="ADAL" clId="{E65BD9C0-CDAC-4338-A78A-D75BAE3A8EBD}" dt="2022-02-15T18:36:47.026" v="4221"/>
          <ac:spMkLst>
            <pc:docMk/>
            <pc:sldMk cId="982076584" sldId="315"/>
            <ac:spMk id="211" creationId="{CF7D9F42-3399-4236-BC35-EF59C5932FFA}"/>
          </ac:spMkLst>
        </pc:spChg>
        <pc:spChg chg="del mod">
          <ac:chgData name="PROVENCHERE Sandrine" userId="ad1decff-d2ce-4d29-9d90-3591b80bc438" providerId="ADAL" clId="{E65BD9C0-CDAC-4338-A78A-D75BAE3A8EBD}" dt="2022-02-15T18:36:47.026" v="4222"/>
          <ac:spMkLst>
            <pc:docMk/>
            <pc:sldMk cId="982076584" sldId="315"/>
            <ac:spMk id="212" creationId="{42939826-02F9-4B2D-B9CC-C37CE3188038}"/>
          </ac:spMkLst>
        </pc:spChg>
        <pc:spChg chg="del mod">
          <ac:chgData name="PROVENCHERE Sandrine" userId="ad1decff-d2ce-4d29-9d90-3591b80bc438" providerId="ADAL" clId="{E65BD9C0-CDAC-4338-A78A-D75BAE3A8EBD}" dt="2022-02-15T18:38:54.194" v="6041"/>
          <ac:spMkLst>
            <pc:docMk/>
            <pc:sldMk cId="982076584" sldId="315"/>
            <ac:spMk id="213" creationId="{437864A9-D6E5-48E0-AC22-8B1AC2C2796D}"/>
          </ac:spMkLst>
        </pc:spChg>
        <pc:spChg chg="del mod">
          <ac:chgData name="PROVENCHERE Sandrine" userId="ad1decff-d2ce-4d29-9d90-3591b80bc438" providerId="ADAL" clId="{E65BD9C0-CDAC-4338-A78A-D75BAE3A8EBD}" dt="2022-02-15T18:36:47.026" v="4223"/>
          <ac:spMkLst>
            <pc:docMk/>
            <pc:sldMk cId="982076584" sldId="315"/>
            <ac:spMk id="214" creationId="{9B908047-F3D4-402D-A6BA-037E1C309773}"/>
          </ac:spMkLst>
        </pc:spChg>
        <pc:spChg chg="mod ord">
          <ac:chgData name="PROVENCHERE Sandrine" userId="ad1decff-d2ce-4d29-9d90-3591b80bc438" providerId="ADAL" clId="{E65BD9C0-CDAC-4338-A78A-D75BAE3A8EBD}" dt="2022-02-15T18:49:18.808" v="8136"/>
          <ac:spMkLst>
            <pc:docMk/>
            <pc:sldMk cId="982076584" sldId="315"/>
            <ac:spMk id="215" creationId="{5647C691-D624-4141-AEFB-6F1A27A1C379}"/>
          </ac:spMkLst>
        </pc:spChg>
        <pc:spChg chg="mod ord">
          <ac:chgData name="PROVENCHERE Sandrine" userId="ad1decff-d2ce-4d29-9d90-3591b80bc438" providerId="ADAL" clId="{E65BD9C0-CDAC-4338-A78A-D75BAE3A8EBD}" dt="2022-02-15T18:49:18.808" v="8138"/>
          <ac:spMkLst>
            <pc:docMk/>
            <pc:sldMk cId="982076584" sldId="315"/>
            <ac:spMk id="216" creationId="{290CAD6D-F4E4-4236-9800-CF0B1F367229}"/>
          </ac:spMkLst>
        </pc:spChg>
        <pc:spChg chg="mod ord">
          <ac:chgData name="PROVENCHERE Sandrine" userId="ad1decff-d2ce-4d29-9d90-3591b80bc438" providerId="ADAL" clId="{E65BD9C0-CDAC-4338-A78A-D75BAE3A8EBD}" dt="2022-02-15T18:49:18.808" v="8140"/>
          <ac:spMkLst>
            <pc:docMk/>
            <pc:sldMk cId="982076584" sldId="315"/>
            <ac:spMk id="217" creationId="{72993A50-08E0-4CA7-9DF7-BB2AB7640F96}"/>
          </ac:spMkLst>
        </pc:spChg>
        <pc:spChg chg="mod">
          <ac:chgData name="PROVENCHERE Sandrine" userId="ad1decff-d2ce-4d29-9d90-3591b80bc438" providerId="ADAL" clId="{E65BD9C0-CDAC-4338-A78A-D75BAE3A8EBD}" dt="2022-02-15T18:51:36.974" v="8925"/>
          <ac:spMkLst>
            <pc:docMk/>
            <pc:sldMk cId="982076584" sldId="315"/>
            <ac:spMk id="219" creationId="{1237313B-74C6-4A9C-BE55-54FA251AAA46}"/>
          </ac:spMkLst>
        </pc:spChg>
        <pc:spChg chg="mod">
          <ac:chgData name="PROVENCHERE Sandrine" userId="ad1decff-d2ce-4d29-9d90-3591b80bc438" providerId="ADAL" clId="{E65BD9C0-CDAC-4338-A78A-D75BAE3A8EBD}" dt="2022-02-15T18:51:36.974" v="8926"/>
          <ac:spMkLst>
            <pc:docMk/>
            <pc:sldMk cId="982076584" sldId="315"/>
            <ac:spMk id="220" creationId="{D9357BDD-CA71-4441-881F-B5695BCE28FB}"/>
          </ac:spMkLst>
        </pc:spChg>
        <pc:spChg chg="mod">
          <ac:chgData name="PROVENCHERE Sandrine" userId="ad1decff-d2ce-4d29-9d90-3591b80bc438" providerId="ADAL" clId="{E65BD9C0-CDAC-4338-A78A-D75BAE3A8EBD}" dt="2022-02-15T18:51:36.974" v="8928"/>
          <ac:spMkLst>
            <pc:docMk/>
            <pc:sldMk cId="982076584" sldId="315"/>
            <ac:spMk id="221" creationId="{124915EF-63E7-40CB-B698-47D47CF3DCCE}"/>
          </ac:spMkLst>
        </pc:spChg>
        <pc:spChg chg="mod">
          <ac:chgData name="PROVENCHERE Sandrine" userId="ad1decff-d2ce-4d29-9d90-3591b80bc438" providerId="ADAL" clId="{E65BD9C0-CDAC-4338-A78A-D75BAE3A8EBD}" dt="2022-02-15T18:51:36.974" v="8927"/>
          <ac:spMkLst>
            <pc:docMk/>
            <pc:sldMk cId="982076584" sldId="315"/>
            <ac:spMk id="222" creationId="{CFF557F7-830D-4248-9720-030560BFA261}"/>
          </ac:spMkLst>
        </pc:spChg>
        <pc:spChg chg="del mod">
          <ac:chgData name="PROVENCHERE Sandrine" userId="ad1decff-d2ce-4d29-9d90-3591b80bc438" providerId="ADAL" clId="{E65BD9C0-CDAC-4338-A78A-D75BAE3A8EBD}" dt="2022-02-15T18:38:54.209" v="6043"/>
          <ac:spMkLst>
            <pc:docMk/>
            <pc:sldMk cId="982076584" sldId="315"/>
            <ac:spMk id="223" creationId="{28F45D01-126B-4D3B-8CA7-B7A4C3FC4C2C}"/>
          </ac:spMkLst>
        </pc:spChg>
        <pc:spChg chg="mod ord">
          <ac:chgData name="PROVENCHERE Sandrine" userId="ad1decff-d2ce-4d29-9d90-3591b80bc438" providerId="ADAL" clId="{E65BD9C0-CDAC-4338-A78A-D75BAE3A8EBD}" dt="2022-02-15T18:49:18.808" v="8124"/>
          <ac:spMkLst>
            <pc:docMk/>
            <pc:sldMk cId="982076584" sldId="315"/>
            <ac:spMk id="225" creationId="{7C69B050-26D8-48A8-8232-9F11ABE056BE}"/>
          </ac:spMkLst>
        </pc:spChg>
        <pc:spChg chg="del mod">
          <ac:chgData name="PROVENCHERE Sandrine" userId="ad1decff-d2ce-4d29-9d90-3591b80bc438" providerId="ADAL" clId="{E65BD9C0-CDAC-4338-A78A-D75BAE3A8EBD}" dt="2022-02-15T18:38:54.194" v="6039"/>
          <ac:spMkLst>
            <pc:docMk/>
            <pc:sldMk cId="982076584" sldId="315"/>
            <ac:spMk id="230" creationId="{CF8826F4-867C-4AD5-9C44-1ADE6129DDD9}"/>
          </ac:spMkLst>
        </pc:spChg>
        <pc:spChg chg="add mod">
          <ac:chgData name="PROVENCHERE Sandrine" userId="ad1decff-d2ce-4d29-9d90-3591b80bc438" providerId="ADAL" clId="{E65BD9C0-CDAC-4338-A78A-D75BAE3A8EBD}" dt="2022-02-15T18:49:18.808" v="8141"/>
          <ac:spMkLst>
            <pc:docMk/>
            <pc:sldMk cId="982076584" sldId="315"/>
            <ac:spMk id="231" creationId="{9DAB1727-85DE-4C88-870C-B0887B66B280}"/>
          </ac:spMkLst>
        </pc:spChg>
        <pc:spChg chg="mod ord">
          <ac:chgData name="PROVENCHERE Sandrine" userId="ad1decff-d2ce-4d29-9d90-3591b80bc438" providerId="ADAL" clId="{E65BD9C0-CDAC-4338-A78A-D75BAE3A8EBD}" dt="2022-02-15T18:49:18.825" v="8165"/>
          <ac:spMkLst>
            <pc:docMk/>
            <pc:sldMk cId="982076584" sldId="315"/>
            <ac:spMk id="232" creationId="{ADB348D0-7624-433F-B531-E77AAD87473B}"/>
          </ac:spMkLst>
        </pc:spChg>
        <pc:spChg chg="mod">
          <ac:chgData name="PROVENCHERE Sandrine" userId="ad1decff-d2ce-4d29-9d90-3591b80bc438" providerId="ADAL" clId="{E65BD9C0-CDAC-4338-A78A-D75BAE3A8EBD}" dt="2022-02-15T18:38:44.526" v="6036" actId="20577"/>
          <ac:spMkLst>
            <pc:docMk/>
            <pc:sldMk cId="982076584" sldId="315"/>
            <ac:spMk id="233" creationId="{724B377D-C72C-41E1-87C6-B1331121494C}"/>
          </ac:spMkLst>
        </pc:spChg>
        <pc:spChg chg="mod ord">
          <ac:chgData name="PROVENCHERE Sandrine" userId="ad1decff-d2ce-4d29-9d90-3591b80bc438" providerId="ADAL" clId="{E65BD9C0-CDAC-4338-A78A-D75BAE3A8EBD}" dt="2022-02-15T18:49:18.858" v="8258"/>
          <ac:spMkLst>
            <pc:docMk/>
            <pc:sldMk cId="982076584" sldId="315"/>
            <ac:spMk id="241" creationId="{60E0184D-3E44-45FF-8DCD-30320905649A}"/>
          </ac:spMkLst>
        </pc:spChg>
        <pc:spChg chg="mod ord">
          <ac:chgData name="PROVENCHERE Sandrine" userId="ad1decff-d2ce-4d29-9d90-3591b80bc438" providerId="ADAL" clId="{E65BD9C0-CDAC-4338-A78A-D75BAE3A8EBD}" dt="2022-02-15T18:49:18.858" v="8260"/>
          <ac:spMkLst>
            <pc:docMk/>
            <pc:sldMk cId="982076584" sldId="315"/>
            <ac:spMk id="242" creationId="{CDC85699-793F-4A70-B9B6-9D55CF5F68E1}"/>
          </ac:spMkLst>
        </pc:spChg>
        <pc:spChg chg="add mod">
          <ac:chgData name="PROVENCHERE Sandrine" userId="ad1decff-d2ce-4d29-9d90-3591b80bc438" providerId="ADAL" clId="{E65BD9C0-CDAC-4338-A78A-D75BAE3A8EBD}" dt="2022-02-15T18:49:18.808" v="8142"/>
          <ac:spMkLst>
            <pc:docMk/>
            <pc:sldMk cId="982076584" sldId="315"/>
            <ac:spMk id="243" creationId="{E822A056-89C3-4153-B409-05DC6455FEBA}"/>
          </ac:spMkLst>
        </pc:spChg>
        <pc:spChg chg="mod">
          <ac:chgData name="PROVENCHERE Sandrine" userId="ad1decff-d2ce-4d29-9d90-3591b80bc438" providerId="ADAL" clId="{E65BD9C0-CDAC-4338-A78A-D75BAE3A8EBD}" dt="2022-02-15T18:49:18.792" v="8084"/>
          <ac:spMkLst>
            <pc:docMk/>
            <pc:sldMk cId="982076584" sldId="315"/>
            <ac:spMk id="244" creationId="{44704398-683D-48B0-AC44-89855D366DAB}"/>
          </ac:spMkLst>
        </pc:spChg>
        <pc:spChg chg="mod ord">
          <ac:chgData name="PROVENCHERE Sandrine" userId="ad1decff-d2ce-4d29-9d90-3591b80bc438" providerId="ADAL" clId="{E65BD9C0-CDAC-4338-A78A-D75BAE3A8EBD}" dt="2022-02-15T18:49:18.825" v="8167"/>
          <ac:spMkLst>
            <pc:docMk/>
            <pc:sldMk cId="982076584" sldId="315"/>
            <ac:spMk id="246" creationId="{5480C29B-7193-449F-A0FE-8AAB28454918}"/>
          </ac:spMkLst>
        </pc:spChg>
        <pc:spChg chg="mod">
          <ac:chgData name="PROVENCHERE Sandrine" userId="ad1decff-d2ce-4d29-9d90-3591b80bc438" providerId="ADAL" clId="{E65BD9C0-CDAC-4338-A78A-D75BAE3A8EBD}" dt="2022-02-15T18:38:26.712" v="5984" actId="1038"/>
          <ac:spMkLst>
            <pc:docMk/>
            <pc:sldMk cId="982076584" sldId="315"/>
            <ac:spMk id="247" creationId="{773A6194-CB64-46DA-B1B7-4472C2143038}"/>
          </ac:spMkLst>
        </pc:spChg>
        <pc:spChg chg="mod ord">
          <ac:chgData name="PROVENCHERE Sandrine" userId="ad1decff-d2ce-4d29-9d90-3591b80bc438" providerId="ADAL" clId="{E65BD9C0-CDAC-4338-A78A-D75BAE3A8EBD}" dt="2022-02-15T18:49:18.792" v="8087"/>
          <ac:spMkLst>
            <pc:docMk/>
            <pc:sldMk cId="982076584" sldId="315"/>
            <ac:spMk id="248" creationId="{D4A80F1B-4E5E-4901-A7A0-CABD12E65445}"/>
          </ac:spMkLst>
        </pc:spChg>
        <pc:spChg chg="add mod">
          <ac:chgData name="PROVENCHERE Sandrine" userId="ad1decff-d2ce-4d29-9d90-3591b80bc438" providerId="ADAL" clId="{E65BD9C0-CDAC-4338-A78A-D75BAE3A8EBD}" dt="2022-02-15T18:49:18.808" v="8122"/>
          <ac:spMkLst>
            <pc:docMk/>
            <pc:sldMk cId="982076584" sldId="315"/>
            <ac:spMk id="249" creationId="{FE2AF8E1-021B-4925-A50C-61D6B9784F07}"/>
          </ac:spMkLst>
        </pc:spChg>
        <pc:spChg chg="mod">
          <ac:chgData name="PROVENCHERE Sandrine" userId="ad1decff-d2ce-4d29-9d90-3591b80bc438" providerId="ADAL" clId="{E65BD9C0-CDAC-4338-A78A-D75BAE3A8EBD}" dt="2022-02-15T18:49:18.792" v="8085"/>
          <ac:spMkLst>
            <pc:docMk/>
            <pc:sldMk cId="982076584" sldId="315"/>
            <ac:spMk id="250" creationId="{310F3317-B6FE-436B-A317-50F2F752A604}"/>
          </ac:spMkLst>
        </pc:spChg>
        <pc:spChg chg="add mod">
          <ac:chgData name="PROVENCHERE Sandrine" userId="ad1decff-d2ce-4d29-9d90-3591b80bc438" providerId="ADAL" clId="{E65BD9C0-CDAC-4338-A78A-D75BAE3A8EBD}" dt="2022-02-15T18:49:18.808" v="8143"/>
          <ac:spMkLst>
            <pc:docMk/>
            <pc:sldMk cId="982076584" sldId="315"/>
            <ac:spMk id="251" creationId="{5CDAFCAA-C9AD-40EF-A66C-9DC47B61C5F7}"/>
          </ac:spMkLst>
        </pc:spChg>
        <pc:spChg chg="add mod">
          <ac:chgData name="PROVENCHERE Sandrine" userId="ad1decff-d2ce-4d29-9d90-3591b80bc438" providerId="ADAL" clId="{E65BD9C0-CDAC-4338-A78A-D75BAE3A8EBD}" dt="2022-02-15T18:49:18.808" v="8134"/>
          <ac:spMkLst>
            <pc:docMk/>
            <pc:sldMk cId="982076584" sldId="315"/>
            <ac:spMk id="252" creationId="{E44FA3F9-BBC5-4BB8-A896-1E8F4522B495}"/>
          </ac:spMkLst>
        </pc:spChg>
        <pc:spChg chg="add mod">
          <ac:chgData name="PROVENCHERE Sandrine" userId="ad1decff-d2ce-4d29-9d90-3591b80bc438" providerId="ADAL" clId="{E65BD9C0-CDAC-4338-A78A-D75BAE3A8EBD}" dt="2022-02-15T18:49:18.824" v="8144"/>
          <ac:spMkLst>
            <pc:docMk/>
            <pc:sldMk cId="982076584" sldId="315"/>
            <ac:spMk id="253" creationId="{9E5D728D-6F0F-421D-B7DC-1A1BB71BA9D5}"/>
          </ac:spMkLst>
        </pc:spChg>
        <pc:spChg chg="add mod">
          <ac:chgData name="PROVENCHERE Sandrine" userId="ad1decff-d2ce-4d29-9d90-3591b80bc438" providerId="ADAL" clId="{E65BD9C0-CDAC-4338-A78A-D75BAE3A8EBD}" dt="2022-02-15T18:49:18.808" v="8125"/>
          <ac:spMkLst>
            <pc:docMk/>
            <pc:sldMk cId="982076584" sldId="315"/>
            <ac:spMk id="254" creationId="{E992ED24-1CD8-4CA9-BF0E-6DA59771652E}"/>
          </ac:spMkLst>
        </pc:spChg>
        <pc:spChg chg="add mod">
          <ac:chgData name="PROVENCHERE Sandrine" userId="ad1decff-d2ce-4d29-9d90-3591b80bc438" providerId="ADAL" clId="{E65BD9C0-CDAC-4338-A78A-D75BAE3A8EBD}" dt="2022-02-15T18:49:18.825" v="8146"/>
          <ac:spMkLst>
            <pc:docMk/>
            <pc:sldMk cId="982076584" sldId="315"/>
            <ac:spMk id="255" creationId="{8018FAA8-7B21-428E-94E6-184A6D0C2BA6}"/>
          </ac:spMkLst>
        </pc:spChg>
        <pc:spChg chg="add mod">
          <ac:chgData name="PROVENCHERE Sandrine" userId="ad1decff-d2ce-4d29-9d90-3591b80bc438" providerId="ADAL" clId="{E65BD9C0-CDAC-4338-A78A-D75BAE3A8EBD}" dt="2022-02-15T18:49:18.825" v="8147"/>
          <ac:spMkLst>
            <pc:docMk/>
            <pc:sldMk cId="982076584" sldId="315"/>
            <ac:spMk id="256" creationId="{B184CD83-843D-4E16-A0A9-F56E75F1C37B}"/>
          </ac:spMkLst>
        </pc:spChg>
        <pc:spChg chg="mod ord">
          <ac:chgData name="PROVENCHERE Sandrine" userId="ad1decff-d2ce-4d29-9d90-3591b80bc438" providerId="ADAL" clId="{E65BD9C0-CDAC-4338-A78A-D75BAE3A8EBD}" dt="2022-02-15T18:49:18.858" v="8264"/>
          <ac:spMkLst>
            <pc:docMk/>
            <pc:sldMk cId="982076584" sldId="315"/>
            <ac:spMk id="257" creationId="{5D03E258-852E-41C6-A6E6-DDC6914F81E3}"/>
          </ac:spMkLst>
        </pc:spChg>
        <pc:spChg chg="mod ord">
          <ac:chgData name="PROVENCHERE Sandrine" userId="ad1decff-d2ce-4d29-9d90-3591b80bc438" providerId="ADAL" clId="{E65BD9C0-CDAC-4338-A78A-D75BAE3A8EBD}" dt="2022-02-15T18:49:18.790" v="8045"/>
          <ac:spMkLst>
            <pc:docMk/>
            <pc:sldMk cId="982076584" sldId="315"/>
            <ac:spMk id="259" creationId="{23E859CE-D762-473B-A6A4-43916782E141}"/>
          </ac:spMkLst>
        </pc:spChg>
        <pc:spChg chg="mod ord">
          <ac:chgData name="PROVENCHERE Sandrine" userId="ad1decff-d2ce-4d29-9d90-3591b80bc438" providerId="ADAL" clId="{E65BD9C0-CDAC-4338-A78A-D75BAE3A8EBD}" dt="2022-02-15T18:49:18.845" v="8204"/>
          <ac:spMkLst>
            <pc:docMk/>
            <pc:sldMk cId="982076584" sldId="315"/>
            <ac:spMk id="260" creationId="{EC730ABB-01FC-4F7B-BC43-D750336F74D7}"/>
          </ac:spMkLst>
        </pc:spChg>
        <pc:spChg chg="mod ord">
          <ac:chgData name="PROVENCHERE Sandrine" userId="ad1decff-d2ce-4d29-9d90-3591b80bc438" providerId="ADAL" clId="{E65BD9C0-CDAC-4338-A78A-D75BAE3A8EBD}" dt="2022-02-15T18:49:18.845" v="8206"/>
          <ac:spMkLst>
            <pc:docMk/>
            <pc:sldMk cId="982076584" sldId="315"/>
            <ac:spMk id="261" creationId="{A10A4420-66C8-42DE-82D1-BEFFB2419C97}"/>
          </ac:spMkLst>
        </pc:spChg>
        <pc:spChg chg="mod ord">
          <ac:chgData name="PROVENCHERE Sandrine" userId="ad1decff-d2ce-4d29-9d90-3591b80bc438" providerId="ADAL" clId="{E65BD9C0-CDAC-4338-A78A-D75BAE3A8EBD}" dt="2022-02-15T18:49:18.845" v="8208"/>
          <ac:spMkLst>
            <pc:docMk/>
            <pc:sldMk cId="982076584" sldId="315"/>
            <ac:spMk id="262" creationId="{37A8C09C-710F-48E5-AF07-424C5D583BDF}"/>
          </ac:spMkLst>
        </pc:spChg>
        <pc:spChg chg="mod ord">
          <ac:chgData name="PROVENCHERE Sandrine" userId="ad1decff-d2ce-4d29-9d90-3591b80bc438" providerId="ADAL" clId="{E65BD9C0-CDAC-4338-A78A-D75BAE3A8EBD}" dt="2022-02-15T18:49:18.845" v="8210"/>
          <ac:spMkLst>
            <pc:docMk/>
            <pc:sldMk cId="982076584" sldId="315"/>
            <ac:spMk id="263" creationId="{54604176-CFA7-41D5-BE94-A3AE78B7F4C2}"/>
          </ac:spMkLst>
        </pc:spChg>
        <pc:spChg chg="mod ord">
          <ac:chgData name="PROVENCHERE Sandrine" userId="ad1decff-d2ce-4d29-9d90-3591b80bc438" providerId="ADAL" clId="{E65BD9C0-CDAC-4338-A78A-D75BAE3A8EBD}" dt="2022-02-15T18:49:18.845" v="8212"/>
          <ac:spMkLst>
            <pc:docMk/>
            <pc:sldMk cId="982076584" sldId="315"/>
            <ac:spMk id="264" creationId="{E165D15C-4633-4830-B94D-6C1F5067BE22}"/>
          </ac:spMkLst>
        </pc:spChg>
        <pc:spChg chg="mod ord">
          <ac:chgData name="PROVENCHERE Sandrine" userId="ad1decff-d2ce-4d29-9d90-3591b80bc438" providerId="ADAL" clId="{E65BD9C0-CDAC-4338-A78A-D75BAE3A8EBD}" dt="2022-02-15T18:49:18.858" v="8266"/>
          <ac:spMkLst>
            <pc:docMk/>
            <pc:sldMk cId="982076584" sldId="315"/>
            <ac:spMk id="267" creationId="{C49FCF00-D4FB-49DD-81EA-E4E96B6CD637}"/>
          </ac:spMkLst>
        </pc:spChg>
        <pc:spChg chg="mod ord">
          <ac:chgData name="PROVENCHERE Sandrine" userId="ad1decff-d2ce-4d29-9d90-3591b80bc438" providerId="ADAL" clId="{E65BD9C0-CDAC-4338-A78A-D75BAE3A8EBD}" dt="2022-02-15T18:49:18.845" v="8218"/>
          <ac:spMkLst>
            <pc:docMk/>
            <pc:sldMk cId="982076584" sldId="315"/>
            <ac:spMk id="268" creationId="{6A2D1725-9C14-496A-BCDA-9B2E63233BDD}"/>
          </ac:spMkLst>
        </pc:spChg>
        <pc:spChg chg="add mod">
          <ac:chgData name="PROVENCHERE Sandrine" userId="ad1decff-d2ce-4d29-9d90-3591b80bc438" providerId="ADAL" clId="{E65BD9C0-CDAC-4338-A78A-D75BAE3A8EBD}" dt="2022-02-15T18:49:18.825" v="8148"/>
          <ac:spMkLst>
            <pc:docMk/>
            <pc:sldMk cId="982076584" sldId="315"/>
            <ac:spMk id="269" creationId="{ADCB16C4-8A35-48D5-966E-42597DE13F0A}"/>
          </ac:spMkLst>
        </pc:spChg>
        <pc:spChg chg="add mod">
          <ac:chgData name="PROVENCHERE Sandrine" userId="ad1decff-d2ce-4d29-9d90-3591b80bc438" providerId="ADAL" clId="{E65BD9C0-CDAC-4338-A78A-D75BAE3A8EBD}" dt="2022-02-15T18:49:18.825" v="8145"/>
          <ac:spMkLst>
            <pc:docMk/>
            <pc:sldMk cId="982076584" sldId="315"/>
            <ac:spMk id="270" creationId="{BD818887-4A6F-45E5-BE13-9D37F6B75E46}"/>
          </ac:spMkLst>
        </pc:spChg>
        <pc:spChg chg="add mod">
          <ac:chgData name="PROVENCHERE Sandrine" userId="ad1decff-d2ce-4d29-9d90-3591b80bc438" providerId="ADAL" clId="{E65BD9C0-CDAC-4338-A78A-D75BAE3A8EBD}" dt="2022-02-15T18:49:18.825" v="8149"/>
          <ac:spMkLst>
            <pc:docMk/>
            <pc:sldMk cId="982076584" sldId="315"/>
            <ac:spMk id="271" creationId="{801AC9E9-1D92-49E3-A258-DC7AE554BC94}"/>
          </ac:spMkLst>
        </pc:spChg>
        <pc:spChg chg="add mod">
          <ac:chgData name="PROVENCHERE Sandrine" userId="ad1decff-d2ce-4d29-9d90-3591b80bc438" providerId="ADAL" clId="{E65BD9C0-CDAC-4338-A78A-D75BAE3A8EBD}" dt="2022-02-15T18:49:18.825" v="8150"/>
          <ac:spMkLst>
            <pc:docMk/>
            <pc:sldMk cId="982076584" sldId="315"/>
            <ac:spMk id="272" creationId="{C29A3822-0DA3-4B63-A3A7-098F85EB0AC5}"/>
          </ac:spMkLst>
        </pc:spChg>
        <pc:spChg chg="mod ord">
          <ac:chgData name="PROVENCHERE Sandrine" userId="ad1decff-d2ce-4d29-9d90-3591b80bc438" providerId="ADAL" clId="{E65BD9C0-CDAC-4338-A78A-D75BAE3A8EBD}" dt="2022-02-15T18:49:18.858" v="8272"/>
          <ac:spMkLst>
            <pc:docMk/>
            <pc:sldMk cId="982076584" sldId="315"/>
            <ac:spMk id="275" creationId="{F0A72C28-CB29-4FEA-85F5-C8445BB9BCEB}"/>
          </ac:spMkLst>
        </pc:spChg>
        <pc:spChg chg="mod ord">
          <ac:chgData name="PROVENCHERE Sandrine" userId="ad1decff-d2ce-4d29-9d90-3591b80bc438" providerId="ADAL" clId="{E65BD9C0-CDAC-4338-A78A-D75BAE3A8EBD}" dt="2022-02-15T18:49:18.858" v="8224"/>
          <ac:spMkLst>
            <pc:docMk/>
            <pc:sldMk cId="982076584" sldId="315"/>
            <ac:spMk id="276" creationId="{F0E35A8C-6FA8-4F3C-8269-002FD9ACF97E}"/>
          </ac:spMkLst>
        </pc:spChg>
        <pc:spChg chg="mod ord">
          <ac:chgData name="PROVENCHERE Sandrine" userId="ad1decff-d2ce-4d29-9d90-3591b80bc438" providerId="ADAL" clId="{E65BD9C0-CDAC-4338-A78A-D75BAE3A8EBD}" dt="2022-02-15T18:49:18.858" v="8226"/>
          <ac:spMkLst>
            <pc:docMk/>
            <pc:sldMk cId="982076584" sldId="315"/>
            <ac:spMk id="277" creationId="{5FC510A5-37A9-4F76-974D-7679B28FABBD}"/>
          </ac:spMkLst>
        </pc:spChg>
        <pc:spChg chg="mod ord">
          <ac:chgData name="PROVENCHERE Sandrine" userId="ad1decff-d2ce-4d29-9d90-3591b80bc438" providerId="ADAL" clId="{E65BD9C0-CDAC-4338-A78A-D75BAE3A8EBD}" dt="2022-02-15T18:49:18.858" v="8228"/>
          <ac:spMkLst>
            <pc:docMk/>
            <pc:sldMk cId="982076584" sldId="315"/>
            <ac:spMk id="278" creationId="{EC78708A-7225-4B28-BF64-1C278245839A}"/>
          </ac:spMkLst>
        </pc:spChg>
        <pc:spChg chg="mod ord">
          <ac:chgData name="PROVENCHERE Sandrine" userId="ad1decff-d2ce-4d29-9d90-3591b80bc438" providerId="ADAL" clId="{E65BD9C0-CDAC-4338-A78A-D75BAE3A8EBD}" dt="2022-02-15T18:49:18.858" v="8274"/>
          <ac:spMkLst>
            <pc:docMk/>
            <pc:sldMk cId="982076584" sldId="315"/>
            <ac:spMk id="280" creationId="{C35AFC77-FE66-442F-89EC-28FA71755578}"/>
          </ac:spMkLst>
        </pc:spChg>
        <pc:spChg chg="mod ord">
          <ac:chgData name="PROVENCHERE Sandrine" userId="ad1decff-d2ce-4d29-9d90-3591b80bc438" providerId="ADAL" clId="{E65BD9C0-CDAC-4338-A78A-D75BAE3A8EBD}" dt="2022-02-15T18:49:18.858" v="8276"/>
          <ac:spMkLst>
            <pc:docMk/>
            <pc:sldMk cId="982076584" sldId="315"/>
            <ac:spMk id="281" creationId="{EF8EA109-00D6-48C4-B00A-A14A08926E8D}"/>
          </ac:spMkLst>
        </pc:spChg>
        <pc:spChg chg="mod ord">
          <ac:chgData name="PROVENCHERE Sandrine" userId="ad1decff-d2ce-4d29-9d90-3591b80bc438" providerId="ADAL" clId="{E65BD9C0-CDAC-4338-A78A-D75BAE3A8EBD}" dt="2022-02-15T18:49:18.858" v="8278"/>
          <ac:spMkLst>
            <pc:docMk/>
            <pc:sldMk cId="982076584" sldId="315"/>
            <ac:spMk id="282" creationId="{1BA2E13E-34A9-444F-8511-93E90DF08A08}"/>
          </ac:spMkLst>
        </pc:spChg>
        <pc:spChg chg="add mod">
          <ac:chgData name="PROVENCHERE Sandrine" userId="ad1decff-d2ce-4d29-9d90-3591b80bc438" providerId="ADAL" clId="{E65BD9C0-CDAC-4338-A78A-D75BAE3A8EBD}" dt="2022-02-15T18:49:18.825" v="8173"/>
          <ac:spMkLst>
            <pc:docMk/>
            <pc:sldMk cId="982076584" sldId="315"/>
            <ac:spMk id="285" creationId="{4FBFF8CD-1F13-4A0E-AEA3-0B14C0BB0D03}"/>
          </ac:spMkLst>
        </pc:spChg>
        <pc:spChg chg="add mod">
          <ac:chgData name="PROVENCHERE Sandrine" userId="ad1decff-d2ce-4d29-9d90-3591b80bc438" providerId="ADAL" clId="{E65BD9C0-CDAC-4338-A78A-D75BAE3A8EBD}" dt="2022-02-15T18:49:18.842" v="8175"/>
          <ac:spMkLst>
            <pc:docMk/>
            <pc:sldMk cId="982076584" sldId="315"/>
            <ac:spMk id="287" creationId="{78E3F856-CF8D-49A6-AFBD-174771AD6AA5}"/>
          </ac:spMkLst>
        </pc:spChg>
        <pc:spChg chg="add mod">
          <ac:chgData name="PROVENCHERE Sandrine" userId="ad1decff-d2ce-4d29-9d90-3591b80bc438" providerId="ADAL" clId="{E65BD9C0-CDAC-4338-A78A-D75BAE3A8EBD}" dt="2022-02-15T18:49:18.842" v="8176"/>
          <ac:spMkLst>
            <pc:docMk/>
            <pc:sldMk cId="982076584" sldId="315"/>
            <ac:spMk id="290" creationId="{9C00030C-7042-43CA-A152-D703539E535B}"/>
          </ac:spMkLst>
        </pc:spChg>
        <pc:spChg chg="add mod">
          <ac:chgData name="PROVENCHERE Sandrine" userId="ad1decff-d2ce-4d29-9d90-3591b80bc438" providerId="ADAL" clId="{E65BD9C0-CDAC-4338-A78A-D75BAE3A8EBD}" dt="2022-02-15T18:49:18.840" v="8174"/>
          <ac:spMkLst>
            <pc:docMk/>
            <pc:sldMk cId="982076584" sldId="315"/>
            <ac:spMk id="291" creationId="{A7AC68EB-12FC-4FF7-90A9-14590001DDC5}"/>
          </ac:spMkLst>
        </pc:spChg>
        <pc:spChg chg="add mod">
          <ac:chgData name="PROVENCHERE Sandrine" userId="ad1decff-d2ce-4d29-9d90-3591b80bc438" providerId="ADAL" clId="{E65BD9C0-CDAC-4338-A78A-D75BAE3A8EBD}" dt="2022-02-15T18:49:18.842" v="8177"/>
          <ac:spMkLst>
            <pc:docMk/>
            <pc:sldMk cId="982076584" sldId="315"/>
            <ac:spMk id="296" creationId="{4127FB0A-700F-416E-9931-FE0A7156891F}"/>
          </ac:spMkLst>
        </pc:spChg>
        <pc:spChg chg="add mod">
          <ac:chgData name="PROVENCHERE Sandrine" userId="ad1decff-d2ce-4d29-9d90-3591b80bc438" providerId="ADAL" clId="{E65BD9C0-CDAC-4338-A78A-D75BAE3A8EBD}" dt="2022-02-15T18:49:18.842" v="8178"/>
          <ac:spMkLst>
            <pc:docMk/>
            <pc:sldMk cId="982076584" sldId="315"/>
            <ac:spMk id="297" creationId="{75F0082D-E9BB-4073-932E-E9ECA1CD6BF2}"/>
          </ac:spMkLst>
        </pc:spChg>
        <pc:spChg chg="mod ord">
          <ac:chgData name="PROVENCHERE Sandrine" userId="ad1decff-d2ce-4d29-9d90-3591b80bc438" providerId="ADAL" clId="{E65BD9C0-CDAC-4338-A78A-D75BAE3A8EBD}" dt="2022-02-15T18:49:18.808" v="8113"/>
          <ac:spMkLst>
            <pc:docMk/>
            <pc:sldMk cId="982076584" sldId="315"/>
            <ac:spMk id="301" creationId="{0E222F4E-57D0-4A60-83DA-DF2D46BDC957}"/>
          </ac:spMkLst>
        </pc:spChg>
        <pc:spChg chg="mod">
          <ac:chgData name="PROVENCHERE Sandrine" userId="ad1decff-d2ce-4d29-9d90-3591b80bc438" providerId="ADAL" clId="{E65BD9C0-CDAC-4338-A78A-D75BAE3A8EBD}" dt="2022-02-15T18:49:18.808" v="8107"/>
          <ac:spMkLst>
            <pc:docMk/>
            <pc:sldMk cId="982076584" sldId="315"/>
            <ac:spMk id="302" creationId="{792B99E9-7506-47FC-9BA8-9F1C2F6839B9}"/>
          </ac:spMkLst>
        </pc:spChg>
        <pc:spChg chg="mod ord">
          <ac:chgData name="PROVENCHERE Sandrine" userId="ad1decff-d2ce-4d29-9d90-3591b80bc438" providerId="ADAL" clId="{E65BD9C0-CDAC-4338-A78A-D75BAE3A8EBD}" dt="2022-02-15T18:49:18.808" v="8106"/>
          <ac:spMkLst>
            <pc:docMk/>
            <pc:sldMk cId="982076584" sldId="315"/>
            <ac:spMk id="303" creationId="{E8D5E44D-9F6F-4591-A128-D45FEBB91CCE}"/>
          </ac:spMkLst>
        </pc:spChg>
        <pc:spChg chg="mod ord">
          <ac:chgData name="PROVENCHERE Sandrine" userId="ad1decff-d2ce-4d29-9d90-3591b80bc438" providerId="ADAL" clId="{E65BD9C0-CDAC-4338-A78A-D75BAE3A8EBD}" dt="2022-02-15T18:49:18.808" v="8110"/>
          <ac:spMkLst>
            <pc:docMk/>
            <pc:sldMk cId="982076584" sldId="315"/>
            <ac:spMk id="304" creationId="{4A8310BC-D557-409B-902F-54798E9EA84E}"/>
          </ac:spMkLst>
        </pc:spChg>
        <pc:spChg chg="add mod">
          <ac:chgData name="PROVENCHERE Sandrine" userId="ad1decff-d2ce-4d29-9d90-3591b80bc438" providerId="ADAL" clId="{E65BD9C0-CDAC-4338-A78A-D75BAE3A8EBD}" dt="2022-02-15T18:49:18.842" v="8179"/>
          <ac:spMkLst>
            <pc:docMk/>
            <pc:sldMk cId="982076584" sldId="315"/>
            <ac:spMk id="305" creationId="{72423AB5-0EFE-4A23-B449-89AB17F27D0F}"/>
          </ac:spMkLst>
        </pc:spChg>
        <pc:spChg chg="add mod">
          <ac:chgData name="PROVENCHERE Sandrine" userId="ad1decff-d2ce-4d29-9d90-3591b80bc438" providerId="ADAL" clId="{E65BD9C0-CDAC-4338-A78A-D75BAE3A8EBD}" dt="2022-02-15T18:49:18.842" v="8180"/>
          <ac:spMkLst>
            <pc:docMk/>
            <pc:sldMk cId="982076584" sldId="315"/>
            <ac:spMk id="306" creationId="{F9E298DC-FB44-4989-B99C-BFA5496F4B6A}"/>
          </ac:spMkLst>
        </pc:spChg>
        <pc:spChg chg="add mod">
          <ac:chgData name="PROVENCHERE Sandrine" userId="ad1decff-d2ce-4d29-9d90-3591b80bc438" providerId="ADAL" clId="{E65BD9C0-CDAC-4338-A78A-D75BAE3A8EBD}" dt="2022-02-15T18:49:18.842" v="8181"/>
          <ac:spMkLst>
            <pc:docMk/>
            <pc:sldMk cId="982076584" sldId="315"/>
            <ac:spMk id="308" creationId="{036C4584-D6DE-4F5A-830B-4A75D9C0A74B}"/>
          </ac:spMkLst>
        </pc:spChg>
        <pc:spChg chg="add mod">
          <ac:chgData name="PROVENCHERE Sandrine" userId="ad1decff-d2ce-4d29-9d90-3591b80bc438" providerId="ADAL" clId="{E65BD9C0-CDAC-4338-A78A-D75BAE3A8EBD}" dt="2022-02-15T18:49:18.825" v="8172"/>
          <ac:spMkLst>
            <pc:docMk/>
            <pc:sldMk cId="982076584" sldId="315"/>
            <ac:spMk id="309" creationId="{9C94DB25-19A6-4D8E-A20F-D9BC82B07C4F}"/>
          </ac:spMkLst>
        </pc:spChg>
        <pc:spChg chg="add mod">
          <ac:chgData name="PROVENCHERE Sandrine" userId="ad1decff-d2ce-4d29-9d90-3591b80bc438" providerId="ADAL" clId="{E65BD9C0-CDAC-4338-A78A-D75BAE3A8EBD}" dt="2022-02-15T18:49:18.845" v="8182"/>
          <ac:spMkLst>
            <pc:docMk/>
            <pc:sldMk cId="982076584" sldId="315"/>
            <ac:spMk id="310" creationId="{757A8F63-F070-4348-BF12-B4B44925B988}"/>
          </ac:spMkLst>
        </pc:spChg>
        <pc:spChg chg="add mod">
          <ac:chgData name="PROVENCHERE Sandrine" userId="ad1decff-d2ce-4d29-9d90-3591b80bc438" providerId="ADAL" clId="{E65BD9C0-CDAC-4338-A78A-D75BAE3A8EBD}" dt="2022-02-15T18:49:18.845" v="8183"/>
          <ac:spMkLst>
            <pc:docMk/>
            <pc:sldMk cId="982076584" sldId="315"/>
            <ac:spMk id="311" creationId="{5BE3D011-9291-4D2B-A39F-EAC4ED0AE2AD}"/>
          </ac:spMkLst>
        </pc:spChg>
        <pc:spChg chg="add mod">
          <ac:chgData name="PROVENCHERE Sandrine" userId="ad1decff-d2ce-4d29-9d90-3591b80bc438" providerId="ADAL" clId="{E65BD9C0-CDAC-4338-A78A-D75BAE3A8EBD}" dt="2022-02-15T18:49:18.845" v="8184"/>
          <ac:spMkLst>
            <pc:docMk/>
            <pc:sldMk cId="982076584" sldId="315"/>
            <ac:spMk id="312" creationId="{366A2090-8D9C-47F9-AEE9-46AABFD42368}"/>
          </ac:spMkLst>
        </pc:spChg>
        <pc:spChg chg="mod">
          <ac:chgData name="PROVENCHERE Sandrine" userId="ad1decff-d2ce-4d29-9d90-3591b80bc438" providerId="ADAL" clId="{E65BD9C0-CDAC-4338-A78A-D75BAE3A8EBD}" dt="2022-02-15T18:39:17.714" v="7591"/>
          <ac:spMkLst>
            <pc:docMk/>
            <pc:sldMk cId="982076584" sldId="315"/>
            <ac:spMk id="315" creationId="{82D0CE73-D0E0-4C32-AE2C-195573314324}"/>
          </ac:spMkLst>
        </pc:spChg>
        <pc:spChg chg="mod">
          <ac:chgData name="PROVENCHERE Sandrine" userId="ad1decff-d2ce-4d29-9d90-3591b80bc438" providerId="ADAL" clId="{E65BD9C0-CDAC-4338-A78A-D75BAE3A8EBD}" dt="2022-02-15T18:49:18.792" v="8089"/>
          <ac:spMkLst>
            <pc:docMk/>
            <pc:sldMk cId="982076584" sldId="315"/>
            <ac:spMk id="318" creationId="{3FD2B578-1CA5-4839-9017-7E3EC6256711}"/>
          </ac:spMkLst>
        </pc:spChg>
        <pc:spChg chg="mod">
          <ac:chgData name="PROVENCHERE Sandrine" userId="ad1decff-d2ce-4d29-9d90-3591b80bc438" providerId="ADAL" clId="{E65BD9C0-CDAC-4338-A78A-D75BAE3A8EBD}" dt="2022-02-15T18:39:17.714" v="7591"/>
          <ac:spMkLst>
            <pc:docMk/>
            <pc:sldMk cId="982076584" sldId="315"/>
            <ac:spMk id="319" creationId="{3424BF22-6BA5-411F-AAE1-7C4FB0788DD8}"/>
          </ac:spMkLst>
        </pc:spChg>
        <pc:spChg chg="mod">
          <ac:chgData name="PROVENCHERE Sandrine" userId="ad1decff-d2ce-4d29-9d90-3591b80bc438" providerId="ADAL" clId="{E65BD9C0-CDAC-4338-A78A-D75BAE3A8EBD}" dt="2022-02-15T18:49:18.792" v="8088"/>
          <ac:spMkLst>
            <pc:docMk/>
            <pc:sldMk cId="982076584" sldId="315"/>
            <ac:spMk id="321" creationId="{24A04A89-1568-403D-97E2-65DAF015C362}"/>
          </ac:spMkLst>
        </pc:spChg>
        <pc:spChg chg="mod">
          <ac:chgData name="PROVENCHERE Sandrine" userId="ad1decff-d2ce-4d29-9d90-3591b80bc438" providerId="ADAL" clId="{E65BD9C0-CDAC-4338-A78A-D75BAE3A8EBD}" dt="2022-02-15T18:49:18.792" v="8090"/>
          <ac:spMkLst>
            <pc:docMk/>
            <pc:sldMk cId="982076584" sldId="315"/>
            <ac:spMk id="323" creationId="{5FAD09DC-1BCC-466C-A83F-7F46577C368B}"/>
          </ac:spMkLst>
        </pc:spChg>
        <pc:spChg chg="mod">
          <ac:chgData name="PROVENCHERE Sandrine" userId="ad1decff-d2ce-4d29-9d90-3591b80bc438" providerId="ADAL" clId="{E65BD9C0-CDAC-4338-A78A-D75BAE3A8EBD}" dt="2022-02-15T18:49:18.792" v="8091"/>
          <ac:spMkLst>
            <pc:docMk/>
            <pc:sldMk cId="982076584" sldId="315"/>
            <ac:spMk id="325" creationId="{9AC11AB8-6836-4499-9807-52E88DB1F8D9}"/>
          </ac:spMkLst>
        </pc:spChg>
        <pc:spChg chg="mod">
          <ac:chgData name="PROVENCHERE Sandrine" userId="ad1decff-d2ce-4d29-9d90-3591b80bc438" providerId="ADAL" clId="{E65BD9C0-CDAC-4338-A78A-D75BAE3A8EBD}" dt="2022-02-15T18:49:18.808" v="8108"/>
          <ac:spMkLst>
            <pc:docMk/>
            <pc:sldMk cId="982076584" sldId="315"/>
            <ac:spMk id="337" creationId="{E17B4A14-0DC6-4748-9AB0-76BA63D43833}"/>
          </ac:spMkLst>
        </pc:spChg>
        <pc:spChg chg="mod">
          <ac:chgData name="PROVENCHERE Sandrine" userId="ad1decff-d2ce-4d29-9d90-3591b80bc438" providerId="ADAL" clId="{E65BD9C0-CDAC-4338-A78A-D75BAE3A8EBD}" dt="2022-02-15T18:49:18.808" v="8111"/>
          <ac:spMkLst>
            <pc:docMk/>
            <pc:sldMk cId="982076584" sldId="315"/>
            <ac:spMk id="350" creationId="{7C573944-9D35-4E24-908D-AB871EB87F6B}"/>
          </ac:spMkLst>
        </pc:spChg>
        <pc:spChg chg="mod">
          <ac:chgData name="PROVENCHERE Sandrine" userId="ad1decff-d2ce-4d29-9d90-3591b80bc438" providerId="ADAL" clId="{E65BD9C0-CDAC-4338-A78A-D75BAE3A8EBD}" dt="2022-02-15T18:49:18.808" v="8114"/>
          <ac:spMkLst>
            <pc:docMk/>
            <pc:sldMk cId="982076584" sldId="315"/>
            <ac:spMk id="352" creationId="{3457CB0F-B3D8-40D5-91D2-4F9AE7D78E86}"/>
          </ac:spMkLst>
        </pc:spChg>
        <pc:spChg chg="mod ord">
          <ac:chgData name="PROVENCHERE Sandrine" userId="ad1decff-d2ce-4d29-9d90-3591b80bc438" providerId="ADAL" clId="{E65BD9C0-CDAC-4338-A78A-D75BAE3A8EBD}" dt="2022-02-15T18:49:18.858" v="8236"/>
          <ac:spMkLst>
            <pc:docMk/>
            <pc:sldMk cId="982076584" sldId="315"/>
            <ac:spMk id="355" creationId="{C1E61069-C8CA-4019-A975-62D182A8B9CC}"/>
          </ac:spMkLst>
        </pc:spChg>
        <pc:spChg chg="mod">
          <ac:chgData name="PROVENCHERE Sandrine" userId="ad1decff-d2ce-4d29-9d90-3591b80bc438" providerId="ADAL" clId="{E65BD9C0-CDAC-4338-A78A-D75BAE3A8EBD}" dt="2022-02-15T18:49:18.808" v="8115"/>
          <ac:spMkLst>
            <pc:docMk/>
            <pc:sldMk cId="982076584" sldId="315"/>
            <ac:spMk id="356" creationId="{D8C455AB-39E6-4CB4-BA75-E5C956AA5BD6}"/>
          </ac:spMkLst>
        </pc:spChg>
        <pc:spChg chg="mod ord">
          <ac:chgData name="PROVENCHERE Sandrine" userId="ad1decff-d2ce-4d29-9d90-3591b80bc438" providerId="ADAL" clId="{E65BD9C0-CDAC-4338-A78A-D75BAE3A8EBD}" dt="2022-02-15T18:49:18.858" v="8238"/>
          <ac:spMkLst>
            <pc:docMk/>
            <pc:sldMk cId="982076584" sldId="315"/>
            <ac:spMk id="357" creationId="{4250E03D-4363-4E0A-85E5-48B3FEE56E02}"/>
          </ac:spMkLst>
        </pc:spChg>
        <pc:spChg chg="mod ord">
          <ac:chgData name="PROVENCHERE Sandrine" userId="ad1decff-d2ce-4d29-9d90-3591b80bc438" providerId="ADAL" clId="{E65BD9C0-CDAC-4338-A78A-D75BAE3A8EBD}" dt="2022-02-15T18:49:18.858" v="8240"/>
          <ac:spMkLst>
            <pc:docMk/>
            <pc:sldMk cId="982076584" sldId="315"/>
            <ac:spMk id="358" creationId="{9C34914F-1284-4D25-9932-A77D91B995E9}"/>
          </ac:spMkLst>
        </pc:spChg>
        <pc:spChg chg="mod ord">
          <ac:chgData name="PROVENCHERE Sandrine" userId="ad1decff-d2ce-4d29-9d90-3591b80bc438" providerId="ADAL" clId="{E65BD9C0-CDAC-4338-A78A-D75BAE3A8EBD}" dt="2022-02-15T18:49:18.858" v="8242"/>
          <ac:spMkLst>
            <pc:docMk/>
            <pc:sldMk cId="982076584" sldId="315"/>
            <ac:spMk id="359" creationId="{B17A55F9-3C90-4D02-B1A7-69898512B1A2}"/>
          </ac:spMkLst>
        </pc:spChg>
        <pc:spChg chg="mod ord">
          <ac:chgData name="PROVENCHERE Sandrine" userId="ad1decff-d2ce-4d29-9d90-3591b80bc438" providerId="ADAL" clId="{E65BD9C0-CDAC-4338-A78A-D75BAE3A8EBD}" dt="2022-02-15T18:49:18.858" v="8244"/>
          <ac:spMkLst>
            <pc:docMk/>
            <pc:sldMk cId="982076584" sldId="315"/>
            <ac:spMk id="360" creationId="{19196A2D-C978-4BD8-9E36-35CF1698960A}"/>
          </ac:spMkLst>
        </pc:spChg>
        <pc:spChg chg="mod ord">
          <ac:chgData name="PROVENCHERE Sandrine" userId="ad1decff-d2ce-4d29-9d90-3591b80bc438" providerId="ADAL" clId="{E65BD9C0-CDAC-4338-A78A-D75BAE3A8EBD}" dt="2022-02-15T18:49:18.858" v="8246"/>
          <ac:spMkLst>
            <pc:docMk/>
            <pc:sldMk cId="982076584" sldId="315"/>
            <ac:spMk id="361" creationId="{F5E423ED-6FCC-414B-84A6-82A4C6F9788A}"/>
          </ac:spMkLst>
        </pc:spChg>
        <pc:spChg chg="mod ord">
          <ac:chgData name="PROVENCHERE Sandrine" userId="ad1decff-d2ce-4d29-9d90-3591b80bc438" providerId="ADAL" clId="{E65BD9C0-CDAC-4338-A78A-D75BAE3A8EBD}" dt="2022-02-15T18:49:18.858" v="8248"/>
          <ac:spMkLst>
            <pc:docMk/>
            <pc:sldMk cId="982076584" sldId="315"/>
            <ac:spMk id="362" creationId="{A6114E1E-91F5-478D-949C-061199671015}"/>
          </ac:spMkLst>
        </pc:spChg>
        <pc:spChg chg="mod ord">
          <ac:chgData name="PROVENCHERE Sandrine" userId="ad1decff-d2ce-4d29-9d90-3591b80bc438" providerId="ADAL" clId="{E65BD9C0-CDAC-4338-A78A-D75BAE3A8EBD}" dt="2022-02-15T18:49:18.858" v="8250"/>
          <ac:spMkLst>
            <pc:docMk/>
            <pc:sldMk cId="982076584" sldId="315"/>
            <ac:spMk id="363" creationId="{1EE6DD91-8F5D-4718-8FF9-03E431B13210}"/>
          </ac:spMkLst>
        </pc:spChg>
        <pc:spChg chg="mod ord">
          <ac:chgData name="PROVENCHERE Sandrine" userId="ad1decff-d2ce-4d29-9d90-3591b80bc438" providerId="ADAL" clId="{E65BD9C0-CDAC-4338-A78A-D75BAE3A8EBD}" dt="2022-02-15T18:49:18.858" v="8252"/>
          <ac:spMkLst>
            <pc:docMk/>
            <pc:sldMk cId="982076584" sldId="315"/>
            <ac:spMk id="364" creationId="{A74B8A5E-C0E5-4919-BF72-E9ADB9693DF2}"/>
          </ac:spMkLst>
        </pc:spChg>
        <pc:spChg chg="mod ord">
          <ac:chgData name="PROVENCHERE Sandrine" userId="ad1decff-d2ce-4d29-9d90-3591b80bc438" providerId="ADAL" clId="{E65BD9C0-CDAC-4338-A78A-D75BAE3A8EBD}" dt="2022-02-15T18:49:18.858" v="8254"/>
          <ac:spMkLst>
            <pc:docMk/>
            <pc:sldMk cId="982076584" sldId="315"/>
            <ac:spMk id="365" creationId="{7950B871-6B59-452A-B8F1-129A33AC9478}"/>
          </ac:spMkLst>
        </pc:spChg>
        <pc:spChg chg="mod ord">
          <ac:chgData name="PROVENCHERE Sandrine" userId="ad1decff-d2ce-4d29-9d90-3591b80bc438" providerId="ADAL" clId="{E65BD9C0-CDAC-4338-A78A-D75BAE3A8EBD}" dt="2022-02-15T18:49:18.858" v="8256"/>
          <ac:spMkLst>
            <pc:docMk/>
            <pc:sldMk cId="982076584" sldId="315"/>
            <ac:spMk id="366" creationId="{886E17A4-5421-4A86-A1AE-1A457E232E50}"/>
          </ac:spMkLst>
        </pc:spChg>
        <pc:spChg chg="mod">
          <ac:chgData name="PROVENCHERE Sandrine" userId="ad1decff-d2ce-4d29-9d90-3591b80bc438" providerId="ADAL" clId="{E65BD9C0-CDAC-4338-A78A-D75BAE3A8EBD}" dt="2022-02-15T18:49:18.808" v="8116"/>
          <ac:spMkLst>
            <pc:docMk/>
            <pc:sldMk cId="982076584" sldId="315"/>
            <ac:spMk id="412" creationId="{F0D1334D-247F-479D-841F-3855BCAF0A42}"/>
          </ac:spMkLst>
        </pc:spChg>
        <pc:spChg chg="mod ord">
          <ac:chgData name="PROVENCHERE Sandrine" userId="ad1decff-d2ce-4d29-9d90-3591b80bc438" providerId="ADAL" clId="{E65BD9C0-CDAC-4338-A78A-D75BAE3A8EBD}" dt="2022-02-15T18:51:36.974" v="8929" actId="948"/>
          <ac:spMkLst>
            <pc:docMk/>
            <pc:sldMk cId="982076584" sldId="315"/>
            <ac:spMk id="587" creationId="{7FC2D976-FF61-496E-BC30-76433C060A8D}"/>
          </ac:spMkLst>
        </pc:spChg>
        <pc:grpChg chg="mod ord">
          <ac:chgData name="PROVENCHERE Sandrine" userId="ad1decff-d2ce-4d29-9d90-3591b80bc438" providerId="ADAL" clId="{E65BD9C0-CDAC-4338-A78A-D75BAE3A8EBD}" dt="2022-02-15T18:49:18.858" v="8262"/>
          <ac:grpSpMkLst>
            <pc:docMk/>
            <pc:sldMk cId="982076584" sldId="315"/>
            <ac:grpSpMk id="23" creationId="{0D795AFA-2D29-4CAE-B26D-3434FEF16F46}"/>
          </ac:grpSpMkLst>
        </pc:grpChg>
        <pc:grpChg chg="del mod ord">
          <ac:chgData name="PROVENCHERE Sandrine" userId="ad1decff-d2ce-4d29-9d90-3591b80bc438" providerId="ADAL" clId="{E65BD9C0-CDAC-4338-A78A-D75BAE3A8EBD}" dt="2022-02-15T18:39:07.392" v="7589" actId="478"/>
          <ac:grpSpMkLst>
            <pc:docMk/>
            <pc:sldMk cId="982076584" sldId="315"/>
            <ac:grpSpMk id="182" creationId="{FCADB988-EE2C-4FDA-B90B-32204521228A}"/>
          </ac:grpSpMkLst>
        </pc:grpChg>
        <pc:grpChg chg="del mod ord">
          <ac:chgData name="PROVENCHERE Sandrine" userId="ad1decff-d2ce-4d29-9d90-3591b80bc438" providerId="ADAL" clId="{E65BD9C0-CDAC-4338-A78A-D75BAE3A8EBD}" dt="2022-02-15T18:39:09.676" v="7590" actId="478"/>
          <ac:grpSpMkLst>
            <pc:docMk/>
            <pc:sldMk cId="982076584" sldId="315"/>
            <ac:grpSpMk id="185" creationId="{41A45E38-7457-4553-8E7B-ABF65F326328}"/>
          </ac:grpSpMkLst>
        </pc:grpChg>
        <pc:grpChg chg="mod ord">
          <ac:chgData name="PROVENCHERE Sandrine" userId="ad1decff-d2ce-4d29-9d90-3591b80bc438" providerId="ADAL" clId="{E65BD9C0-CDAC-4338-A78A-D75BAE3A8EBD}" dt="2022-02-15T18:49:18.845" v="8198"/>
          <ac:grpSpMkLst>
            <pc:docMk/>
            <pc:sldMk cId="982076584" sldId="315"/>
            <ac:grpSpMk id="224" creationId="{E0E45818-B40E-4631-B714-2C9F181FC426}"/>
          </ac:grpSpMkLst>
        </pc:grpChg>
        <pc:grpChg chg="add mod ord">
          <ac:chgData name="PROVENCHERE Sandrine" userId="ad1decff-d2ce-4d29-9d90-3591b80bc438" providerId="ADAL" clId="{E65BD9C0-CDAC-4338-A78A-D75BAE3A8EBD}" dt="2022-02-15T18:49:18.876" v="8286"/>
          <ac:grpSpMkLst>
            <pc:docMk/>
            <pc:sldMk cId="982076584" sldId="315"/>
            <ac:grpSpMk id="314" creationId="{4C839737-8DDF-4A7F-9873-AC79B19D6E63}"/>
          </ac:grpSpMkLst>
        </pc:grpChg>
        <pc:grpChg chg="add mod ord">
          <ac:chgData name="PROVENCHERE Sandrine" userId="ad1decff-d2ce-4d29-9d90-3591b80bc438" providerId="ADAL" clId="{E65BD9C0-CDAC-4338-A78A-D75BAE3A8EBD}" dt="2022-02-15T18:49:18.876" v="8288"/>
          <ac:grpSpMkLst>
            <pc:docMk/>
            <pc:sldMk cId="982076584" sldId="315"/>
            <ac:grpSpMk id="317" creationId="{43FBFDCF-B3FA-4656-931F-770429E1A114}"/>
          </ac:grpSpMkLst>
        </pc:grpChg>
        <pc:graphicFrameChg chg="mod">
          <ac:chgData name="PROVENCHERE Sandrine" userId="ad1decff-d2ce-4d29-9d90-3591b80bc438" providerId="ADAL" clId="{E65BD9C0-CDAC-4338-A78A-D75BAE3A8EBD}" dt="2022-02-15T18:51:37.249" v="9281"/>
          <ac:graphicFrameMkLst>
            <pc:docMk/>
            <pc:sldMk cId="982076584" sldId="315"/>
            <ac:graphicFrameMk id="6" creationId="{57E14FF0-0B68-4969-BEF0-799A891BCBC3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35:35.460" v="3223"/>
          <ac:graphicFrameMkLst>
            <pc:docMk/>
            <pc:sldMk cId="982076584" sldId="315"/>
            <ac:graphicFrameMk id="170" creationId="{4454970A-2719-4E1E-9523-B3B96ED15141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49:18.808" v="8104"/>
          <ac:graphicFrameMkLst>
            <pc:docMk/>
            <pc:sldMk cId="982076584" sldId="315"/>
            <ac:graphicFrameMk id="176" creationId="{21B041E7-BE8F-40BF-9E82-52B7EF89D578}"/>
          </ac:graphicFrameMkLst>
        </pc:graphicFrameChg>
        <pc:graphicFrameChg chg="del mod">
          <ac:chgData name="PROVENCHERE Sandrine" userId="ad1decff-d2ce-4d29-9d90-3591b80bc438" providerId="ADAL" clId="{E65BD9C0-CDAC-4338-A78A-D75BAE3A8EBD}" dt="2022-02-15T18:40:49.593" v="7688" actId="478"/>
          <ac:graphicFrameMkLst>
            <pc:docMk/>
            <pc:sldMk cId="982076584" sldId="315"/>
            <ac:graphicFrameMk id="193" creationId="{4A9F05B8-4C61-41AD-B6FE-012BC0EA6717}"/>
          </ac:graphicFrameMkLst>
        </pc:graphicFrameChg>
        <pc:graphicFrameChg chg="del mod">
          <ac:chgData name="PROVENCHERE Sandrine" userId="ad1decff-d2ce-4d29-9d90-3591b80bc438" providerId="ADAL" clId="{E65BD9C0-CDAC-4338-A78A-D75BAE3A8EBD}" dt="2022-02-15T18:47:54.820" v="8020" actId="478"/>
          <ac:graphicFrameMkLst>
            <pc:docMk/>
            <pc:sldMk cId="982076584" sldId="315"/>
            <ac:graphicFrameMk id="195" creationId="{2EFAD91C-BAC7-4F15-859B-7DC7BBC5D264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38:54.309" v="6114"/>
          <ac:graphicFrameMkLst>
            <pc:docMk/>
            <pc:sldMk cId="982076584" sldId="315"/>
            <ac:graphicFrameMk id="204" creationId="{7B7F0062-172E-46F4-8E68-29A48E211D6B}"/>
          </ac:graphicFrameMkLst>
        </pc:graphicFrameChg>
        <pc:graphicFrameChg chg="del mod">
          <ac:chgData name="PROVENCHERE Sandrine" userId="ad1decff-d2ce-4d29-9d90-3591b80bc438" providerId="ADAL" clId="{E65BD9C0-CDAC-4338-A78A-D75BAE3A8EBD}" dt="2022-02-15T18:36:36.118" v="3944"/>
          <ac:graphicFrameMkLst>
            <pc:docMk/>
            <pc:sldMk cId="982076584" sldId="315"/>
            <ac:graphicFrameMk id="218" creationId="{21B282E1-2772-4896-89C1-AB219F3D1254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36:47.142" v="4290"/>
          <ac:graphicFrameMkLst>
            <pc:docMk/>
            <pc:sldMk cId="982076584" sldId="315"/>
            <ac:graphicFrameMk id="227" creationId="{3AEC22AA-A05C-4586-85FB-012B908A8066}"/>
          </ac:graphicFrameMkLst>
        </pc:graphicFrameChg>
        <pc:graphicFrameChg chg="del">
          <ac:chgData name="PROVENCHERE Sandrine" userId="ad1decff-d2ce-4d29-9d90-3591b80bc438" providerId="ADAL" clId="{E65BD9C0-CDAC-4338-A78A-D75BAE3A8EBD}" dt="2022-02-15T18:35:32.577" v="2442"/>
          <ac:graphicFrameMkLst>
            <pc:docMk/>
            <pc:sldMk cId="982076584" sldId="315"/>
            <ac:graphicFrameMk id="228" creationId="{07D45906-7679-4FD6-9CC1-7565BEE8B18D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37:14.692" v="5482"/>
          <ac:graphicFrameMkLst>
            <pc:docMk/>
            <pc:sldMk cId="982076584" sldId="315"/>
            <ac:graphicFrameMk id="229" creationId="{872F8628-1939-452B-8AE0-9EA1837DCF74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5T18:49:18.808" v="8121"/>
          <ac:graphicFrameMkLst>
            <pc:docMk/>
            <pc:sldMk cId="982076584" sldId="315"/>
            <ac:graphicFrameMk id="283" creationId="{42BACAFC-8966-4E6B-8C89-47F15287A457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38:59.792" v="7304"/>
          <ac:graphicFrameMkLst>
            <pc:docMk/>
            <pc:sldMk cId="982076584" sldId="315"/>
            <ac:graphicFrameMk id="284" creationId="{630A7126-2EAA-4858-9FE2-63690575A29D}"/>
          </ac:graphicFrameMkLst>
        </pc:graphicFrameChg>
        <pc:graphicFrameChg chg="mod ord">
          <ac:chgData name="PROVENCHERE Sandrine" userId="ad1decff-d2ce-4d29-9d90-3591b80bc438" providerId="ADAL" clId="{E65BD9C0-CDAC-4338-A78A-D75BAE3A8EBD}" dt="2022-02-15T18:49:18.858" v="8280"/>
          <ac:graphicFrameMkLst>
            <pc:docMk/>
            <pc:sldMk cId="982076584" sldId="315"/>
            <ac:graphicFrameMk id="298" creationId="{D64DE84F-2B82-44CB-9B61-C15425C39929}"/>
          </ac:graphicFrameMkLst>
        </pc:graphicFrameChg>
        <pc:graphicFrameChg chg="mod ord">
          <ac:chgData name="PROVENCHERE Sandrine" userId="ad1decff-d2ce-4d29-9d90-3591b80bc438" providerId="ADAL" clId="{E65BD9C0-CDAC-4338-A78A-D75BAE3A8EBD}" dt="2022-02-15T18:49:18.874" v="8282"/>
          <ac:graphicFrameMkLst>
            <pc:docMk/>
            <pc:sldMk cId="982076584" sldId="315"/>
            <ac:graphicFrameMk id="299" creationId="{E6D899DD-271A-4BA2-B71A-FFD985AC4795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49:18.792" v="8083"/>
          <ac:graphicFrameMkLst>
            <pc:docMk/>
            <pc:sldMk cId="982076584" sldId="315"/>
            <ac:graphicFrameMk id="307" creationId="{FF304146-B410-4690-82CE-B49E1CA7529E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5T18:49:18.825" v="8163"/>
          <ac:graphicFrameMkLst>
            <pc:docMk/>
            <pc:sldMk cId="982076584" sldId="315"/>
            <ac:graphicFrameMk id="313" creationId="{321D9E6D-70F6-43F6-B61D-84DBFA4FCB23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5T18:49:18.876" v="8289"/>
          <ac:graphicFrameMkLst>
            <pc:docMk/>
            <pc:sldMk cId="982076584" sldId="315"/>
            <ac:graphicFrameMk id="324" creationId="{4A9F05B8-4C61-41AD-B6FE-012BC0EA6717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5T18:49:18.876" v="8292"/>
          <ac:graphicFrameMkLst>
            <pc:docMk/>
            <pc:sldMk cId="982076584" sldId="315"/>
            <ac:graphicFrameMk id="326" creationId="{2EFAD91C-BAC7-4F15-859B-7DC7BBC5D264}"/>
          </ac:graphicFrameMkLst>
        </pc:graphicFrameChg>
        <pc:picChg chg="mod ord">
          <ac:chgData name="PROVENCHERE Sandrine" userId="ad1decff-d2ce-4d29-9d90-3591b80bc438" providerId="ADAL" clId="{E65BD9C0-CDAC-4338-A78A-D75BAE3A8EBD}" dt="2022-02-15T18:49:18.792" v="8069"/>
          <ac:picMkLst>
            <pc:docMk/>
            <pc:sldMk cId="982076584" sldId="315"/>
            <ac:picMk id="163" creationId="{3BC3DAD2-8ED9-424E-A55E-E1890FE3F429}"/>
          </ac:picMkLst>
        </pc:picChg>
        <pc:picChg chg="mod ord">
          <ac:chgData name="PROVENCHERE Sandrine" userId="ad1decff-d2ce-4d29-9d90-3591b80bc438" providerId="ADAL" clId="{E65BD9C0-CDAC-4338-A78A-D75BAE3A8EBD}" dt="2022-02-15T18:49:18.845" v="8200"/>
          <ac:picMkLst>
            <pc:docMk/>
            <pc:sldMk cId="982076584" sldId="315"/>
            <ac:picMk id="226" creationId="{E5904904-D88F-4CF1-9C77-B7E09E7CCC4B}"/>
          </ac:picMkLst>
        </pc:picChg>
        <pc:picChg chg="mod ord">
          <ac:chgData name="PROVENCHERE Sandrine" userId="ad1decff-d2ce-4d29-9d90-3591b80bc438" providerId="ADAL" clId="{E65BD9C0-CDAC-4338-A78A-D75BAE3A8EBD}" dt="2022-02-15T18:49:18.845" v="8202"/>
          <ac:picMkLst>
            <pc:docMk/>
            <pc:sldMk cId="982076584" sldId="315"/>
            <ac:picMk id="235" creationId="{220EB096-C32C-4AF7-B8C4-9BEADBE025D0}"/>
          </ac:picMkLst>
        </pc:picChg>
        <pc:picChg chg="mod ord">
          <ac:chgData name="PROVENCHERE Sandrine" userId="ad1decff-d2ce-4d29-9d90-3591b80bc438" providerId="ADAL" clId="{E65BD9C0-CDAC-4338-A78A-D75BAE3A8EBD}" dt="2022-02-15T18:49:18.845" v="8214"/>
          <ac:picMkLst>
            <pc:docMk/>
            <pc:sldMk cId="982076584" sldId="315"/>
            <ac:picMk id="265" creationId="{5B0D0375-7556-4333-AD89-10E3CDB44481}"/>
          </ac:picMkLst>
        </pc:picChg>
        <pc:picChg chg="mod ord">
          <ac:chgData name="PROVENCHERE Sandrine" userId="ad1decff-d2ce-4d29-9d90-3591b80bc438" providerId="ADAL" clId="{E65BD9C0-CDAC-4338-A78A-D75BAE3A8EBD}" dt="2022-02-15T18:49:18.845" v="8216"/>
          <ac:picMkLst>
            <pc:docMk/>
            <pc:sldMk cId="982076584" sldId="315"/>
            <ac:picMk id="266" creationId="{D9C302AC-93BF-45BC-ABEA-BA155C880603}"/>
          </ac:picMkLst>
        </pc:picChg>
        <pc:picChg chg="mod ord">
          <ac:chgData name="PROVENCHERE Sandrine" userId="ad1decff-d2ce-4d29-9d90-3591b80bc438" providerId="ADAL" clId="{E65BD9C0-CDAC-4338-A78A-D75BAE3A8EBD}" dt="2022-02-15T18:49:18.858" v="8268"/>
          <ac:picMkLst>
            <pc:docMk/>
            <pc:sldMk cId="982076584" sldId="315"/>
            <ac:picMk id="273" creationId="{3183903A-232E-4403-9435-C409F6B2FB05}"/>
          </ac:picMkLst>
        </pc:picChg>
        <pc:picChg chg="mod ord">
          <ac:chgData name="PROVENCHERE Sandrine" userId="ad1decff-d2ce-4d29-9d90-3591b80bc438" providerId="ADAL" clId="{E65BD9C0-CDAC-4338-A78A-D75BAE3A8EBD}" dt="2022-02-15T18:49:18.858" v="8270"/>
          <ac:picMkLst>
            <pc:docMk/>
            <pc:sldMk cId="982076584" sldId="315"/>
            <ac:picMk id="274" creationId="{F522400D-D672-4F8A-B425-4DD291EE6AD4}"/>
          </ac:picMkLst>
        </pc:picChg>
        <pc:picChg chg="mod ord">
          <ac:chgData name="PROVENCHERE Sandrine" userId="ad1decff-d2ce-4d29-9d90-3591b80bc438" providerId="ADAL" clId="{E65BD9C0-CDAC-4338-A78A-D75BAE3A8EBD}" dt="2022-02-15T18:49:18.792" v="8057"/>
          <ac:picMkLst>
            <pc:docMk/>
            <pc:sldMk cId="982076584" sldId="315"/>
            <ac:picMk id="288" creationId="{E97DC373-C2F1-4407-B1E9-062788795879}"/>
          </ac:picMkLst>
        </pc:picChg>
        <pc:picChg chg="mod ord">
          <ac:chgData name="PROVENCHERE Sandrine" userId="ad1decff-d2ce-4d29-9d90-3591b80bc438" providerId="ADAL" clId="{E65BD9C0-CDAC-4338-A78A-D75BAE3A8EBD}" dt="2022-02-15T18:49:18.792" v="8059"/>
          <ac:picMkLst>
            <pc:docMk/>
            <pc:sldMk cId="982076584" sldId="315"/>
            <ac:picMk id="289" creationId="{D3A2FE86-7E4C-444A-AF3A-E5EE7E89CA36}"/>
          </ac:picMkLst>
        </pc:picChg>
        <pc:picChg chg="mod ord">
          <ac:chgData name="PROVENCHERE Sandrine" userId="ad1decff-d2ce-4d29-9d90-3591b80bc438" providerId="ADAL" clId="{E65BD9C0-CDAC-4338-A78A-D75BAE3A8EBD}" dt="2022-02-15T18:49:18.858" v="8230"/>
          <ac:picMkLst>
            <pc:docMk/>
            <pc:sldMk cId="982076584" sldId="315"/>
            <ac:picMk id="330" creationId="{7291A2C6-1F44-433E-8D67-8E5FDED700D8}"/>
          </ac:picMkLst>
        </pc:picChg>
        <pc:picChg chg="mod ord">
          <ac:chgData name="PROVENCHERE Sandrine" userId="ad1decff-d2ce-4d29-9d90-3591b80bc438" providerId="ADAL" clId="{E65BD9C0-CDAC-4338-A78A-D75BAE3A8EBD}" dt="2022-02-15T18:49:18.858" v="8232"/>
          <ac:picMkLst>
            <pc:docMk/>
            <pc:sldMk cId="982076584" sldId="315"/>
            <ac:picMk id="331" creationId="{07776989-3012-448A-B792-6035EC30C0C7}"/>
          </ac:picMkLst>
        </pc:picChg>
        <pc:picChg chg="mod ord">
          <ac:chgData name="PROVENCHERE Sandrine" userId="ad1decff-d2ce-4d29-9d90-3591b80bc438" providerId="ADAL" clId="{E65BD9C0-CDAC-4338-A78A-D75BAE3A8EBD}" dt="2022-02-15T18:49:18.776" v="8043"/>
          <ac:picMkLst>
            <pc:docMk/>
            <pc:sldMk cId="982076584" sldId="315"/>
            <ac:picMk id="628" creationId="{28B31F95-BE17-4F95-B08B-A75F5988F9D5}"/>
          </ac:picMkLst>
        </pc:picChg>
        <pc:cxnChg chg="mod ord">
          <ac:chgData name="PROVENCHERE Sandrine" userId="ad1decff-d2ce-4d29-9d90-3591b80bc438" providerId="ADAL" clId="{E65BD9C0-CDAC-4338-A78A-D75BAE3A8EBD}" dt="2022-02-15T18:49:18.825" v="8152"/>
          <ac:cxnSpMkLst>
            <pc:docMk/>
            <pc:sldMk cId="982076584" sldId="315"/>
            <ac:cxnSpMk id="4" creationId="{ED80DA2B-47C8-47B1-AFB7-5FC763270831}"/>
          </ac:cxnSpMkLst>
        </pc:cxnChg>
        <pc:cxnChg chg="mod ord">
          <ac:chgData name="PROVENCHERE Sandrine" userId="ad1decff-d2ce-4d29-9d90-3591b80bc438" providerId="ADAL" clId="{E65BD9C0-CDAC-4338-A78A-D75BAE3A8EBD}" dt="2022-02-15T18:49:18.876" v="8291"/>
          <ac:cxnSpMkLst>
            <pc:docMk/>
            <pc:sldMk cId="982076584" sldId="315"/>
            <ac:cxnSpMk id="7" creationId="{62A22F70-FB03-456A-83CB-014703592A3E}"/>
          </ac:cxnSpMkLst>
        </pc:cxnChg>
        <pc:cxnChg chg="mod ord">
          <ac:chgData name="PROVENCHERE Sandrine" userId="ad1decff-d2ce-4d29-9d90-3591b80bc438" providerId="ADAL" clId="{E65BD9C0-CDAC-4338-A78A-D75BAE3A8EBD}" dt="2022-02-15T18:49:18.825" v="8156"/>
          <ac:cxnSpMkLst>
            <pc:docMk/>
            <pc:sldMk cId="982076584" sldId="315"/>
            <ac:cxnSpMk id="12" creationId="{6F679206-3DC2-4012-8017-4B807F48499C}"/>
          </ac:cxnSpMkLst>
        </pc:cxnChg>
        <pc:cxnChg chg="mod ord">
          <ac:chgData name="PROVENCHERE Sandrine" userId="ad1decff-d2ce-4d29-9d90-3591b80bc438" providerId="ADAL" clId="{E65BD9C0-CDAC-4338-A78A-D75BAE3A8EBD}" dt="2022-02-15T18:49:18.825" v="8154"/>
          <ac:cxnSpMkLst>
            <pc:docMk/>
            <pc:sldMk cId="982076584" sldId="315"/>
            <ac:cxnSpMk id="14" creationId="{D49100A0-C151-4CA3-A7BC-FD2749A72A3C}"/>
          </ac:cxnSpMkLst>
        </pc:cxnChg>
        <pc:cxnChg chg="mod ord">
          <ac:chgData name="PROVENCHERE Sandrine" userId="ad1decff-d2ce-4d29-9d90-3591b80bc438" providerId="ADAL" clId="{E65BD9C0-CDAC-4338-A78A-D75BAE3A8EBD}" dt="2022-02-15T18:49:18.825" v="8158"/>
          <ac:cxnSpMkLst>
            <pc:docMk/>
            <pc:sldMk cId="982076584" sldId="315"/>
            <ac:cxnSpMk id="15" creationId="{F5F2A09A-D365-4B86-BDF7-F29A39758932}"/>
          </ac:cxnSpMkLst>
        </pc:cxnChg>
        <pc:cxnChg chg="mod ord">
          <ac:chgData name="PROVENCHERE Sandrine" userId="ad1decff-d2ce-4d29-9d90-3591b80bc438" providerId="ADAL" clId="{E65BD9C0-CDAC-4338-A78A-D75BAE3A8EBD}" dt="2022-02-15T18:49:18.845" v="8186"/>
          <ac:cxnSpMkLst>
            <pc:docMk/>
            <pc:sldMk cId="982076584" sldId="315"/>
            <ac:cxnSpMk id="24" creationId="{11B8B09D-36B8-4ACE-8D68-500FE4CE1F92}"/>
          </ac:cxnSpMkLst>
        </pc:cxnChg>
        <pc:cxnChg chg="mod ord">
          <ac:chgData name="PROVENCHERE Sandrine" userId="ad1decff-d2ce-4d29-9d90-3591b80bc438" providerId="ADAL" clId="{E65BD9C0-CDAC-4338-A78A-D75BAE3A8EBD}" dt="2022-02-15T18:49:18.845" v="8190"/>
          <ac:cxnSpMkLst>
            <pc:docMk/>
            <pc:sldMk cId="982076584" sldId="315"/>
            <ac:cxnSpMk id="26" creationId="{41AA9206-C201-4B98-9269-0A817B3170CA}"/>
          </ac:cxnSpMkLst>
        </pc:cxnChg>
        <pc:cxnChg chg="mod ord">
          <ac:chgData name="PROVENCHERE Sandrine" userId="ad1decff-d2ce-4d29-9d90-3591b80bc438" providerId="ADAL" clId="{E65BD9C0-CDAC-4338-A78A-D75BAE3A8EBD}" dt="2022-02-15T18:49:18.845" v="8188"/>
          <ac:cxnSpMkLst>
            <pc:docMk/>
            <pc:sldMk cId="982076584" sldId="315"/>
            <ac:cxnSpMk id="27" creationId="{8B3CAAB4-9345-46D6-90B7-F1DFD5C4CE33}"/>
          </ac:cxnSpMkLst>
        </pc:cxnChg>
        <pc:cxnChg chg="mod ord">
          <ac:chgData name="PROVENCHERE Sandrine" userId="ad1decff-d2ce-4d29-9d90-3591b80bc438" providerId="ADAL" clId="{E65BD9C0-CDAC-4338-A78A-D75BAE3A8EBD}" dt="2022-02-15T18:49:18.845" v="8192"/>
          <ac:cxnSpMkLst>
            <pc:docMk/>
            <pc:sldMk cId="982076584" sldId="315"/>
            <ac:cxnSpMk id="29" creationId="{648A47E9-1630-478E-B25C-4F567BC60775}"/>
          </ac:cxnSpMkLst>
        </pc:cxnChg>
        <pc:cxnChg chg="mod">
          <ac:chgData name="PROVENCHERE Sandrine" userId="ad1decff-d2ce-4d29-9d90-3591b80bc438" providerId="ADAL" clId="{E65BD9C0-CDAC-4338-A78A-D75BAE3A8EBD}" dt="2022-02-15T18:38:19.592" v="5977" actId="14100"/>
          <ac:cxnSpMkLst>
            <pc:docMk/>
            <pc:sldMk cId="982076584" sldId="315"/>
            <ac:cxnSpMk id="234" creationId="{FC4E85DB-0484-4A71-87F1-67F87994B7D1}"/>
          </ac:cxnSpMkLst>
        </pc:cxnChg>
        <pc:cxnChg chg="mod ord">
          <ac:chgData name="PROVENCHERE Sandrine" userId="ad1decff-d2ce-4d29-9d90-3591b80bc438" providerId="ADAL" clId="{E65BD9C0-CDAC-4338-A78A-D75BAE3A8EBD}" dt="2022-02-15T18:49:18.792" v="8075"/>
          <ac:cxnSpMkLst>
            <pc:docMk/>
            <pc:sldMk cId="982076584" sldId="315"/>
            <ac:cxnSpMk id="236" creationId="{AA1FDE45-0B9D-4D01-B3C9-677FB72BB1FD}"/>
          </ac:cxnSpMkLst>
        </pc:cxnChg>
        <pc:cxnChg chg="mod ord">
          <ac:chgData name="PROVENCHERE Sandrine" userId="ad1decff-d2ce-4d29-9d90-3591b80bc438" providerId="ADAL" clId="{E65BD9C0-CDAC-4338-A78A-D75BAE3A8EBD}" dt="2022-02-15T18:49:18.792" v="8077"/>
          <ac:cxnSpMkLst>
            <pc:docMk/>
            <pc:sldMk cId="982076584" sldId="315"/>
            <ac:cxnSpMk id="237" creationId="{7465A2B5-A087-41D9-BDCF-605FFF5D9968}"/>
          </ac:cxnSpMkLst>
        </pc:cxnChg>
        <pc:cxnChg chg="mod ord">
          <ac:chgData name="PROVENCHERE Sandrine" userId="ad1decff-d2ce-4d29-9d90-3591b80bc438" providerId="ADAL" clId="{E65BD9C0-CDAC-4338-A78A-D75BAE3A8EBD}" dt="2022-02-15T18:49:18.792" v="8073"/>
          <ac:cxnSpMkLst>
            <pc:docMk/>
            <pc:sldMk cId="982076584" sldId="315"/>
            <ac:cxnSpMk id="238" creationId="{E9D357AF-B119-44D4-A938-72657FD66F59}"/>
          </ac:cxnSpMkLst>
        </pc:cxnChg>
        <pc:cxnChg chg="mod ord">
          <ac:chgData name="PROVENCHERE Sandrine" userId="ad1decff-d2ce-4d29-9d90-3591b80bc438" providerId="ADAL" clId="{E65BD9C0-CDAC-4338-A78A-D75BAE3A8EBD}" dt="2022-02-15T18:49:18.792" v="8079"/>
          <ac:cxnSpMkLst>
            <pc:docMk/>
            <pc:sldMk cId="982076584" sldId="315"/>
            <ac:cxnSpMk id="239" creationId="{13F1A2BD-C98E-43DB-8866-363DC24BF961}"/>
          </ac:cxnSpMkLst>
        </pc:cxnChg>
        <pc:cxnChg chg="mod ord">
          <ac:chgData name="PROVENCHERE Sandrine" userId="ad1decff-d2ce-4d29-9d90-3591b80bc438" providerId="ADAL" clId="{E65BD9C0-CDAC-4338-A78A-D75BAE3A8EBD}" dt="2022-02-15T18:49:18.792" v="8081"/>
          <ac:cxnSpMkLst>
            <pc:docMk/>
            <pc:sldMk cId="982076584" sldId="315"/>
            <ac:cxnSpMk id="240" creationId="{128DD387-22BD-42A3-B808-54C04F58229B}"/>
          </ac:cxnSpMkLst>
        </pc:cxnChg>
        <pc:cxnChg chg="mod">
          <ac:chgData name="PROVENCHERE Sandrine" userId="ad1decff-d2ce-4d29-9d90-3591b80bc438" providerId="ADAL" clId="{E65BD9C0-CDAC-4338-A78A-D75BAE3A8EBD}" dt="2022-02-15T18:38:04.876" v="5900" actId="1037"/>
          <ac:cxnSpMkLst>
            <pc:docMk/>
            <pc:sldMk cId="982076584" sldId="315"/>
            <ac:cxnSpMk id="245" creationId="{AFDB29DF-5506-4336-A5B9-B7DDA77D3DDB}"/>
          </ac:cxnSpMkLst>
        </pc:cxnChg>
        <pc:cxnChg chg="mod ord">
          <ac:chgData name="PROVENCHERE Sandrine" userId="ad1decff-d2ce-4d29-9d90-3591b80bc438" providerId="ADAL" clId="{E65BD9C0-CDAC-4338-A78A-D75BAE3A8EBD}" dt="2022-02-15T18:49:18.792" v="8093"/>
          <ac:cxnSpMkLst>
            <pc:docMk/>
            <pc:sldMk cId="982076584" sldId="315"/>
            <ac:cxnSpMk id="258" creationId="{E8E7019A-5327-4CE4-BFA7-3C388DC4E25E}"/>
          </ac:cxnSpMkLst>
        </pc:cxnChg>
        <pc:cxnChg chg="mod ord">
          <ac:chgData name="PROVENCHERE Sandrine" userId="ad1decff-d2ce-4d29-9d90-3591b80bc438" providerId="ADAL" clId="{E65BD9C0-CDAC-4338-A78A-D75BAE3A8EBD}" dt="2022-02-15T18:49:18.876" v="8294"/>
          <ac:cxnSpMkLst>
            <pc:docMk/>
            <pc:sldMk cId="982076584" sldId="315"/>
            <ac:cxnSpMk id="279" creationId="{96EB7270-1670-4F9D-A817-68DA75900D78}"/>
          </ac:cxnSpMkLst>
        </pc:cxnChg>
        <pc:cxnChg chg="mod ord">
          <ac:chgData name="PROVENCHERE Sandrine" userId="ad1decff-d2ce-4d29-9d90-3591b80bc438" providerId="ADAL" clId="{E65BD9C0-CDAC-4338-A78A-D75BAE3A8EBD}" dt="2022-02-15T18:49:18.792" v="8095"/>
          <ac:cxnSpMkLst>
            <pc:docMk/>
            <pc:sldMk cId="982076584" sldId="315"/>
            <ac:cxnSpMk id="286" creationId="{792D639D-417A-4350-96F5-6C3B528BEBB9}"/>
          </ac:cxnSpMkLst>
        </pc:cxnChg>
        <pc:cxnChg chg="mod ord">
          <ac:chgData name="PROVENCHERE Sandrine" userId="ad1decff-d2ce-4d29-9d90-3591b80bc438" providerId="ADAL" clId="{E65BD9C0-CDAC-4338-A78A-D75BAE3A8EBD}" dt="2022-02-15T18:49:18.807" v="8097"/>
          <ac:cxnSpMkLst>
            <pc:docMk/>
            <pc:sldMk cId="982076584" sldId="315"/>
            <ac:cxnSpMk id="292" creationId="{4EB1CD05-6D2E-4B27-BE3A-C5D18551CFBC}"/>
          </ac:cxnSpMkLst>
        </pc:cxnChg>
        <pc:cxnChg chg="mod ord">
          <ac:chgData name="PROVENCHERE Sandrine" userId="ad1decff-d2ce-4d29-9d90-3591b80bc438" providerId="ADAL" clId="{E65BD9C0-CDAC-4338-A78A-D75BAE3A8EBD}" dt="2022-02-15T18:49:18.808" v="8099"/>
          <ac:cxnSpMkLst>
            <pc:docMk/>
            <pc:sldMk cId="982076584" sldId="315"/>
            <ac:cxnSpMk id="293" creationId="{3BD8CEDC-D973-47B5-AC94-45DBAEF262DA}"/>
          </ac:cxnSpMkLst>
        </pc:cxnChg>
        <pc:cxnChg chg="mod ord">
          <ac:chgData name="PROVENCHERE Sandrine" userId="ad1decff-d2ce-4d29-9d90-3591b80bc438" providerId="ADAL" clId="{E65BD9C0-CDAC-4338-A78A-D75BAE3A8EBD}" dt="2022-02-15T18:49:18.808" v="8101"/>
          <ac:cxnSpMkLst>
            <pc:docMk/>
            <pc:sldMk cId="982076584" sldId="315"/>
            <ac:cxnSpMk id="294" creationId="{4A4D7B39-E4E5-49A1-9AFF-D7FD943668B1}"/>
          </ac:cxnSpMkLst>
        </pc:cxnChg>
        <pc:cxnChg chg="mod ord">
          <ac:chgData name="PROVENCHERE Sandrine" userId="ad1decff-d2ce-4d29-9d90-3591b80bc438" providerId="ADAL" clId="{E65BD9C0-CDAC-4338-A78A-D75BAE3A8EBD}" dt="2022-02-15T18:49:18.808" v="8103"/>
          <ac:cxnSpMkLst>
            <pc:docMk/>
            <pc:sldMk cId="982076584" sldId="315"/>
            <ac:cxnSpMk id="295" creationId="{74B4828D-8D30-402D-8676-15BCB2E86513}"/>
          </ac:cxnSpMkLst>
        </pc:cxnChg>
        <pc:cxnChg chg="mod ord">
          <ac:chgData name="PROVENCHERE Sandrine" userId="ad1decff-d2ce-4d29-9d90-3591b80bc438" providerId="ADAL" clId="{E65BD9C0-CDAC-4338-A78A-D75BAE3A8EBD}" dt="2022-02-15T18:49:18.875" v="8284"/>
          <ac:cxnSpMkLst>
            <pc:docMk/>
            <pc:sldMk cId="982076584" sldId="315"/>
            <ac:cxnSpMk id="300" creationId="{49301923-45A2-4EFD-8E4B-5AD618109A8D}"/>
          </ac:cxnSpMkLst>
        </pc:cxnChg>
        <pc:cxnChg chg="mod">
          <ac:chgData name="PROVENCHERE Sandrine" userId="ad1decff-d2ce-4d29-9d90-3591b80bc438" providerId="ADAL" clId="{E65BD9C0-CDAC-4338-A78A-D75BAE3A8EBD}" dt="2022-02-15T18:39:17.714" v="7591"/>
          <ac:cxnSpMkLst>
            <pc:docMk/>
            <pc:sldMk cId="982076584" sldId="315"/>
            <ac:cxnSpMk id="316" creationId="{30C0A0BF-34BA-4206-87EC-19DF26CB9F78}"/>
          </ac:cxnSpMkLst>
        </pc:cxnChg>
        <pc:cxnChg chg="mod ord">
          <ac:chgData name="PROVENCHERE Sandrine" userId="ad1decff-d2ce-4d29-9d90-3591b80bc438" providerId="ADAL" clId="{E65BD9C0-CDAC-4338-A78A-D75BAE3A8EBD}" dt="2022-02-15T18:49:18.792" v="8061"/>
          <ac:cxnSpMkLst>
            <pc:docMk/>
            <pc:sldMk cId="982076584" sldId="315"/>
            <ac:cxnSpMk id="320" creationId="{F605B200-D509-4610-9158-195EB3354579}"/>
          </ac:cxnSpMkLst>
        </pc:cxnChg>
        <pc:cxnChg chg="mod">
          <ac:chgData name="PROVENCHERE Sandrine" userId="ad1decff-d2ce-4d29-9d90-3591b80bc438" providerId="ADAL" clId="{E65BD9C0-CDAC-4338-A78A-D75BAE3A8EBD}" dt="2022-02-15T18:39:17.714" v="7591"/>
          <ac:cxnSpMkLst>
            <pc:docMk/>
            <pc:sldMk cId="982076584" sldId="315"/>
            <ac:cxnSpMk id="322" creationId="{210E8F9C-7BEE-4FFD-A29B-90F03B4AE1E7}"/>
          </ac:cxnSpMkLst>
        </pc:cxnChg>
      </pc:sldChg>
      <pc:sldChg chg="addSp delSp modSp add mod">
        <pc:chgData name="PROVENCHERE Sandrine" userId="ad1decff-d2ce-4d29-9d90-3591b80bc438" providerId="ADAL" clId="{E65BD9C0-CDAC-4338-A78A-D75BAE3A8EBD}" dt="2022-02-15T18:55:46.392" v="10434" actId="20577"/>
        <pc:sldMkLst>
          <pc:docMk/>
          <pc:sldMk cId="2139671919" sldId="316"/>
        </pc:sldMkLst>
        <pc:spChg chg="add del mod modVis">
          <ac:chgData name="PROVENCHERE Sandrine" userId="ad1decff-d2ce-4d29-9d90-3591b80bc438" providerId="ADAL" clId="{E65BD9C0-CDAC-4338-A78A-D75BAE3A8EBD}" dt="2022-02-15T18:51:33.352" v="8901"/>
          <ac:spMkLst>
            <pc:docMk/>
            <pc:sldMk cId="2139671919" sldId="316"/>
            <ac:spMk id="2" creationId="{AEF512DA-4414-482A-804B-2B103D61F0FE}"/>
          </ac:spMkLst>
        </pc:spChg>
        <pc:spChg chg="mod ord">
          <ac:chgData name="PROVENCHERE Sandrine" userId="ad1decff-d2ce-4d29-9d90-3591b80bc438" providerId="ADAL" clId="{E65BD9C0-CDAC-4338-A78A-D75BAE3A8EBD}" dt="2022-02-15T18:52:14.590" v="10322"/>
          <ac:spMkLst>
            <pc:docMk/>
            <pc:sldMk cId="2139671919" sldId="316"/>
            <ac:spMk id="3" creationId="{7123C9CD-0DB3-4CF8-A58B-E9B01F7752F7}"/>
          </ac:spMkLst>
        </pc:spChg>
        <pc:spChg chg="mod ord">
          <ac:chgData name="PROVENCHERE Sandrine" userId="ad1decff-d2ce-4d29-9d90-3591b80bc438" providerId="ADAL" clId="{E65BD9C0-CDAC-4338-A78A-D75BAE3A8EBD}" dt="2022-02-15T18:52:14.524" v="10146"/>
          <ac:spMkLst>
            <pc:docMk/>
            <pc:sldMk cId="2139671919" sldId="316"/>
            <ac:spMk id="5" creationId="{10A373AB-AD61-4AED-871E-8986A038C3B1}"/>
          </ac:spMkLst>
        </pc:spChg>
        <pc:spChg chg="mod ord">
          <ac:chgData name="PROVENCHERE Sandrine" userId="ad1decff-d2ce-4d29-9d90-3591b80bc438" providerId="ADAL" clId="{E65BD9C0-CDAC-4338-A78A-D75BAE3A8EBD}" dt="2022-02-15T18:55:05.025" v="10427" actId="207"/>
          <ac:spMkLst>
            <pc:docMk/>
            <pc:sldMk cId="2139671919" sldId="316"/>
            <ac:spMk id="8" creationId="{0F248677-2B3B-4D33-8092-A63747D709D5}"/>
          </ac:spMkLst>
        </pc:spChg>
        <pc:spChg chg="add del mod modVis">
          <ac:chgData name="PROVENCHERE Sandrine" userId="ad1decff-d2ce-4d29-9d90-3591b80bc438" providerId="ADAL" clId="{E65BD9C0-CDAC-4338-A78A-D75BAE3A8EBD}" dt="2022-02-15T18:51:37.208" v="9277"/>
          <ac:spMkLst>
            <pc:docMk/>
            <pc:sldMk cId="2139671919" sldId="316"/>
            <ac:spMk id="9" creationId="{AF9C70FA-6BDA-482F-A27F-13790ADC5DBD}"/>
          </ac:spMkLst>
        </pc:spChg>
        <pc:spChg chg="mod ord">
          <ac:chgData name="PROVENCHERE Sandrine" userId="ad1decff-d2ce-4d29-9d90-3591b80bc438" providerId="ADAL" clId="{E65BD9C0-CDAC-4338-A78A-D75BAE3A8EBD}" dt="2022-02-15T18:52:14.524" v="10154"/>
          <ac:spMkLst>
            <pc:docMk/>
            <pc:sldMk cId="2139671919" sldId="316"/>
            <ac:spMk id="10" creationId="{00000000-0000-0000-0000-000000000000}"/>
          </ac:spMkLst>
        </pc:spChg>
        <pc:spChg chg="mod ord">
          <ac:chgData name="PROVENCHERE Sandrine" userId="ad1decff-d2ce-4d29-9d90-3591b80bc438" providerId="ADAL" clId="{E65BD9C0-CDAC-4338-A78A-D75BAE3A8EBD}" dt="2022-02-15T18:52:14.524" v="10152"/>
          <ac:spMkLst>
            <pc:docMk/>
            <pc:sldMk cId="2139671919" sldId="316"/>
            <ac:spMk id="11" creationId="{00000000-0000-0000-0000-000000000000}"/>
          </ac:spMkLst>
        </pc:spChg>
        <pc:spChg chg="add del mod modVis">
          <ac:chgData name="PROVENCHERE Sandrine" userId="ad1decff-d2ce-4d29-9d90-3591b80bc438" providerId="ADAL" clId="{E65BD9C0-CDAC-4338-A78A-D75BAE3A8EBD}" dt="2022-02-15T18:51:56.797" v="10069"/>
          <ac:spMkLst>
            <pc:docMk/>
            <pc:sldMk cId="2139671919" sldId="316"/>
            <ac:spMk id="13" creationId="{782671EF-B8BD-437B-82BE-80DCFBDD195C}"/>
          </ac:spMkLst>
        </pc:spChg>
        <pc:spChg chg="mod ord">
          <ac:chgData name="PROVENCHERE Sandrine" userId="ad1decff-d2ce-4d29-9d90-3591b80bc438" providerId="ADAL" clId="{E65BD9C0-CDAC-4338-A78A-D75BAE3A8EBD}" dt="2022-02-15T18:52:14.524" v="10156"/>
          <ac:spMkLst>
            <pc:docMk/>
            <pc:sldMk cId="2139671919" sldId="316"/>
            <ac:spMk id="16" creationId="{00000000-0000-0000-0000-000000000000}"/>
          </ac:spMkLst>
        </pc:spChg>
        <pc:spChg chg="mod ord">
          <ac:chgData name="PROVENCHERE Sandrine" userId="ad1decff-d2ce-4d29-9d90-3591b80bc438" providerId="ADAL" clId="{E65BD9C0-CDAC-4338-A78A-D75BAE3A8EBD}" dt="2022-02-15T18:52:14.524" v="10158"/>
          <ac:spMkLst>
            <pc:docMk/>
            <pc:sldMk cId="2139671919" sldId="316"/>
            <ac:spMk id="17" creationId="{00000000-0000-0000-0000-000000000000}"/>
          </ac:spMkLst>
        </pc:spChg>
        <pc:spChg chg="mod ord">
          <ac:chgData name="PROVENCHERE Sandrine" userId="ad1decff-d2ce-4d29-9d90-3591b80bc438" providerId="ADAL" clId="{E65BD9C0-CDAC-4338-A78A-D75BAE3A8EBD}" dt="2022-02-15T18:52:14.540" v="10170"/>
          <ac:spMkLst>
            <pc:docMk/>
            <pc:sldMk cId="2139671919" sldId="316"/>
            <ac:spMk id="18" creationId="{C818D617-BDA1-4FA4-AD0B-655F50438613}"/>
          </ac:spMkLst>
        </pc:spChg>
        <pc:spChg chg="mod ord">
          <ac:chgData name="PROVENCHERE Sandrine" userId="ad1decff-d2ce-4d29-9d90-3591b80bc438" providerId="ADAL" clId="{E65BD9C0-CDAC-4338-A78A-D75BAE3A8EBD}" dt="2022-02-15T18:52:14.540" v="10172"/>
          <ac:spMkLst>
            <pc:docMk/>
            <pc:sldMk cId="2139671919" sldId="316"/>
            <ac:spMk id="19" creationId="{13034FE2-4385-4DCF-B23C-99CE479BC164}"/>
          </ac:spMkLst>
        </pc:spChg>
        <pc:spChg chg="add mod">
          <ac:chgData name="PROVENCHERE Sandrine" userId="ad1decff-d2ce-4d29-9d90-3591b80bc438" providerId="ADAL" clId="{E65BD9C0-CDAC-4338-A78A-D75BAE3A8EBD}" dt="2022-02-15T18:52:14.540" v="10203"/>
          <ac:spMkLst>
            <pc:docMk/>
            <pc:sldMk cId="2139671919" sldId="316"/>
            <ac:spMk id="20" creationId="{001B9FB7-DE33-445F-A3AD-9CDF2638CD7F}"/>
          </ac:spMkLst>
        </pc:spChg>
        <pc:spChg chg="del mod">
          <ac:chgData name="PROVENCHERE Sandrine" userId="ad1decff-d2ce-4d29-9d90-3591b80bc438" providerId="ADAL" clId="{E65BD9C0-CDAC-4338-A78A-D75BAE3A8EBD}" dt="2022-02-15T18:51:36.911" v="8908"/>
          <ac:spMkLst>
            <pc:docMk/>
            <pc:sldMk cId="2139671919" sldId="316"/>
            <ac:spMk id="22" creationId="{FD42C964-3FB1-4BC5-9068-C1E186698C9E}"/>
          </ac:spMkLst>
        </pc:spChg>
        <pc:spChg chg="mod ord">
          <ac:chgData name="PROVENCHERE Sandrine" userId="ad1decff-d2ce-4d29-9d90-3591b80bc438" providerId="ADAL" clId="{E65BD9C0-CDAC-4338-A78A-D75BAE3A8EBD}" dt="2022-02-15T18:52:14.524" v="10160"/>
          <ac:spMkLst>
            <pc:docMk/>
            <pc:sldMk cId="2139671919" sldId="316"/>
            <ac:spMk id="34" creationId="{6C637BB9-5738-4644-B55B-C7F69DDAAE70}"/>
          </ac:spMkLst>
        </pc:spChg>
        <pc:spChg chg="mod ord">
          <ac:chgData name="PROVENCHERE Sandrine" userId="ad1decff-d2ce-4d29-9d90-3591b80bc438" providerId="ADAL" clId="{E65BD9C0-CDAC-4338-A78A-D75BAE3A8EBD}" dt="2022-02-15T18:52:14.540" v="10176"/>
          <ac:spMkLst>
            <pc:docMk/>
            <pc:sldMk cId="2139671919" sldId="316"/>
            <ac:spMk id="138" creationId="{D7F57ED2-D42E-4509-B433-A35419661A4D}"/>
          </ac:spMkLst>
        </pc:spChg>
        <pc:spChg chg="mod ord">
          <ac:chgData name="PROVENCHERE Sandrine" userId="ad1decff-d2ce-4d29-9d90-3591b80bc438" providerId="ADAL" clId="{E65BD9C0-CDAC-4338-A78A-D75BAE3A8EBD}" dt="2022-02-15T18:52:14.557" v="10218"/>
          <ac:spMkLst>
            <pc:docMk/>
            <pc:sldMk cId="2139671919" sldId="316"/>
            <ac:spMk id="144" creationId="{6722C45A-27DD-4C98-B534-7A0593FA8238}"/>
          </ac:spMkLst>
        </pc:spChg>
        <pc:spChg chg="mod ord">
          <ac:chgData name="PROVENCHERE Sandrine" userId="ad1decff-d2ce-4d29-9d90-3591b80bc438" providerId="ADAL" clId="{E65BD9C0-CDAC-4338-A78A-D75BAE3A8EBD}" dt="2022-02-15T18:52:14.558" v="10220"/>
          <ac:spMkLst>
            <pc:docMk/>
            <pc:sldMk cId="2139671919" sldId="316"/>
            <ac:spMk id="145" creationId="{38454F27-009D-49D5-824E-8B8829526155}"/>
          </ac:spMkLst>
        </pc:spChg>
        <pc:spChg chg="mod ord">
          <ac:chgData name="PROVENCHERE Sandrine" userId="ad1decff-d2ce-4d29-9d90-3591b80bc438" providerId="ADAL" clId="{E65BD9C0-CDAC-4338-A78A-D75BAE3A8EBD}" dt="2022-02-15T18:52:14.558" v="10225"/>
          <ac:spMkLst>
            <pc:docMk/>
            <pc:sldMk cId="2139671919" sldId="316"/>
            <ac:spMk id="171" creationId="{243149C3-F9D2-4D9A-B60A-073600B15D7B}"/>
          </ac:spMkLst>
        </pc:spChg>
        <pc:spChg chg="mod ord">
          <ac:chgData name="PROVENCHERE Sandrine" userId="ad1decff-d2ce-4d29-9d90-3591b80bc438" providerId="ADAL" clId="{E65BD9C0-CDAC-4338-A78A-D75BAE3A8EBD}" dt="2022-02-15T18:52:14.558" v="10223"/>
          <ac:spMkLst>
            <pc:docMk/>
            <pc:sldMk cId="2139671919" sldId="316"/>
            <ac:spMk id="172" creationId="{D6213BE2-F83F-42F2-AEF3-1C7E0C020E0C}"/>
          </ac:spMkLst>
        </pc:spChg>
        <pc:spChg chg="mod ord">
          <ac:chgData name="PROVENCHERE Sandrine" userId="ad1decff-d2ce-4d29-9d90-3591b80bc438" providerId="ADAL" clId="{E65BD9C0-CDAC-4338-A78A-D75BAE3A8EBD}" dt="2022-02-15T18:52:14.574" v="10320"/>
          <ac:spMkLst>
            <pc:docMk/>
            <pc:sldMk cId="2139671919" sldId="316"/>
            <ac:spMk id="187" creationId="{2BBCB42D-7904-4000-802F-1AF38302679F}"/>
          </ac:spMkLst>
        </pc:spChg>
        <pc:spChg chg="mod">
          <ac:chgData name="PROVENCHERE Sandrine" userId="ad1decff-d2ce-4d29-9d90-3591b80bc438" providerId="ADAL" clId="{E65BD9C0-CDAC-4338-A78A-D75BAE3A8EBD}" dt="2022-02-15T18:52:14.558" v="10262"/>
          <ac:spMkLst>
            <pc:docMk/>
            <pc:sldMk cId="2139671919" sldId="316"/>
            <ac:spMk id="189" creationId="{B01DB2A9-A92F-4586-831D-33B5896BCA5C}"/>
          </ac:spMkLst>
        </pc:spChg>
        <pc:spChg chg="mod">
          <ac:chgData name="PROVENCHERE Sandrine" userId="ad1decff-d2ce-4d29-9d90-3591b80bc438" providerId="ADAL" clId="{E65BD9C0-CDAC-4338-A78A-D75BAE3A8EBD}" dt="2022-02-15T18:52:14.558" v="10259"/>
          <ac:spMkLst>
            <pc:docMk/>
            <pc:sldMk cId="2139671919" sldId="316"/>
            <ac:spMk id="190" creationId="{F5A2143A-6566-4A28-962A-36C5BC69439B}"/>
          </ac:spMkLst>
        </pc:spChg>
        <pc:spChg chg="mod">
          <ac:chgData name="PROVENCHERE Sandrine" userId="ad1decff-d2ce-4d29-9d90-3591b80bc438" providerId="ADAL" clId="{E65BD9C0-CDAC-4338-A78A-D75BAE3A8EBD}" dt="2022-02-15T18:52:14.558" v="10261"/>
          <ac:spMkLst>
            <pc:docMk/>
            <pc:sldMk cId="2139671919" sldId="316"/>
            <ac:spMk id="191" creationId="{ACEBC4E5-6B0C-4744-BF37-FAFC6AC237BE}"/>
          </ac:spMkLst>
        </pc:spChg>
        <pc:spChg chg="mod">
          <ac:chgData name="PROVENCHERE Sandrine" userId="ad1decff-d2ce-4d29-9d90-3591b80bc438" providerId="ADAL" clId="{E65BD9C0-CDAC-4338-A78A-D75BAE3A8EBD}" dt="2022-02-15T18:52:14.558" v="10260"/>
          <ac:spMkLst>
            <pc:docMk/>
            <pc:sldMk cId="2139671919" sldId="316"/>
            <ac:spMk id="192" creationId="{9F264F68-D439-43F3-A08D-DC68A263720D}"/>
          </ac:spMkLst>
        </pc:spChg>
        <pc:spChg chg="mod ord">
          <ac:chgData name="PROVENCHERE Sandrine" userId="ad1decff-d2ce-4d29-9d90-3591b80bc438" providerId="ADAL" clId="{E65BD9C0-CDAC-4338-A78A-D75BAE3A8EBD}" dt="2022-02-15T18:52:14.574" v="10272"/>
          <ac:spMkLst>
            <pc:docMk/>
            <pc:sldMk cId="2139671919" sldId="316"/>
            <ac:spMk id="196" creationId="{84F31653-A97B-4861-9302-AAF39B6BE33B}"/>
          </ac:spMkLst>
        </pc:spChg>
        <pc:spChg chg="mod ord">
          <ac:chgData name="PROVENCHERE Sandrine" userId="ad1decff-d2ce-4d29-9d90-3591b80bc438" providerId="ADAL" clId="{E65BD9C0-CDAC-4338-A78A-D75BAE3A8EBD}" dt="2022-02-15T18:52:14.558" v="10230"/>
          <ac:spMkLst>
            <pc:docMk/>
            <pc:sldMk cId="2139671919" sldId="316"/>
            <ac:spMk id="200" creationId="{F923AE85-757B-4385-B523-F3EC007ED840}"/>
          </ac:spMkLst>
        </pc:spChg>
        <pc:spChg chg="mod ord">
          <ac:chgData name="PROVENCHERE Sandrine" userId="ad1decff-d2ce-4d29-9d90-3591b80bc438" providerId="ADAL" clId="{E65BD9C0-CDAC-4338-A78A-D75BAE3A8EBD}" dt="2022-02-15T18:52:14.558" v="10227"/>
          <ac:spMkLst>
            <pc:docMk/>
            <pc:sldMk cId="2139671919" sldId="316"/>
            <ac:spMk id="201" creationId="{E64A26F2-ADE2-4485-B231-2EC15796C5C9}"/>
          </ac:spMkLst>
        </pc:spChg>
        <pc:spChg chg="mod ord">
          <ac:chgData name="PROVENCHERE Sandrine" userId="ad1decff-d2ce-4d29-9d90-3591b80bc438" providerId="ADAL" clId="{E65BD9C0-CDAC-4338-A78A-D75BAE3A8EBD}" dt="2022-02-15T18:52:14.574" v="10278"/>
          <ac:spMkLst>
            <pc:docMk/>
            <pc:sldMk cId="2139671919" sldId="316"/>
            <ac:spMk id="203" creationId="{EE53142E-3EDC-4077-92D1-24CB8C675BAF}"/>
          </ac:spMkLst>
        </pc:spChg>
        <pc:spChg chg="mod ord">
          <ac:chgData name="PROVENCHERE Sandrine" userId="ad1decff-d2ce-4d29-9d90-3591b80bc438" providerId="ADAL" clId="{E65BD9C0-CDAC-4338-A78A-D75BAE3A8EBD}" dt="2022-02-15T18:52:14.558" v="10233"/>
          <ac:spMkLst>
            <pc:docMk/>
            <pc:sldMk cId="2139671919" sldId="316"/>
            <ac:spMk id="215" creationId="{5647C691-D624-4141-AEFB-6F1A27A1C379}"/>
          </ac:spMkLst>
        </pc:spChg>
        <pc:spChg chg="mod ord">
          <ac:chgData name="PROVENCHERE Sandrine" userId="ad1decff-d2ce-4d29-9d90-3591b80bc438" providerId="ADAL" clId="{E65BD9C0-CDAC-4338-A78A-D75BAE3A8EBD}" dt="2022-02-15T18:52:14.558" v="10247"/>
          <ac:spMkLst>
            <pc:docMk/>
            <pc:sldMk cId="2139671919" sldId="316"/>
            <ac:spMk id="216" creationId="{290CAD6D-F4E4-4236-9800-CF0B1F367229}"/>
          </ac:spMkLst>
        </pc:spChg>
        <pc:spChg chg="mod ord">
          <ac:chgData name="PROVENCHERE Sandrine" userId="ad1decff-d2ce-4d29-9d90-3591b80bc438" providerId="ADAL" clId="{E65BD9C0-CDAC-4338-A78A-D75BAE3A8EBD}" dt="2022-02-15T18:52:14.558" v="10250"/>
          <ac:spMkLst>
            <pc:docMk/>
            <pc:sldMk cId="2139671919" sldId="316"/>
            <ac:spMk id="217" creationId="{72993A50-08E0-4CA7-9DF7-BB2AB7640F96}"/>
          </ac:spMkLst>
        </pc:spChg>
        <pc:spChg chg="mod">
          <ac:chgData name="PROVENCHERE Sandrine" userId="ad1decff-d2ce-4d29-9d90-3591b80bc438" providerId="ADAL" clId="{E65BD9C0-CDAC-4338-A78A-D75BAE3A8EBD}" dt="2022-02-15T18:52:14.574" v="10293"/>
          <ac:spMkLst>
            <pc:docMk/>
            <pc:sldMk cId="2139671919" sldId="316"/>
            <ac:spMk id="219" creationId="{1237313B-74C6-4A9C-BE55-54FA251AAA46}"/>
          </ac:spMkLst>
        </pc:spChg>
        <pc:spChg chg="mod">
          <ac:chgData name="PROVENCHERE Sandrine" userId="ad1decff-d2ce-4d29-9d90-3591b80bc438" providerId="ADAL" clId="{E65BD9C0-CDAC-4338-A78A-D75BAE3A8EBD}" dt="2022-02-15T18:52:14.574" v="10294"/>
          <ac:spMkLst>
            <pc:docMk/>
            <pc:sldMk cId="2139671919" sldId="316"/>
            <ac:spMk id="220" creationId="{D9357BDD-CA71-4441-881F-B5695BCE28FB}"/>
          </ac:spMkLst>
        </pc:spChg>
        <pc:spChg chg="mod">
          <ac:chgData name="PROVENCHERE Sandrine" userId="ad1decff-d2ce-4d29-9d90-3591b80bc438" providerId="ADAL" clId="{E65BD9C0-CDAC-4338-A78A-D75BAE3A8EBD}" dt="2022-02-15T18:52:14.574" v="10296"/>
          <ac:spMkLst>
            <pc:docMk/>
            <pc:sldMk cId="2139671919" sldId="316"/>
            <ac:spMk id="221" creationId="{124915EF-63E7-40CB-B698-47D47CF3DCCE}"/>
          </ac:spMkLst>
        </pc:spChg>
        <pc:spChg chg="mod">
          <ac:chgData name="PROVENCHERE Sandrine" userId="ad1decff-d2ce-4d29-9d90-3591b80bc438" providerId="ADAL" clId="{E65BD9C0-CDAC-4338-A78A-D75BAE3A8EBD}" dt="2022-02-15T18:52:14.574" v="10295"/>
          <ac:spMkLst>
            <pc:docMk/>
            <pc:sldMk cId="2139671919" sldId="316"/>
            <ac:spMk id="222" creationId="{CFF557F7-830D-4248-9720-030560BFA261}"/>
          </ac:spMkLst>
        </pc:spChg>
        <pc:spChg chg="mod ord">
          <ac:chgData name="PROVENCHERE Sandrine" userId="ad1decff-d2ce-4d29-9d90-3591b80bc438" providerId="ADAL" clId="{E65BD9C0-CDAC-4338-A78A-D75BAE3A8EBD}" dt="2022-02-15T18:52:14.558" v="10236"/>
          <ac:spMkLst>
            <pc:docMk/>
            <pc:sldMk cId="2139671919" sldId="316"/>
            <ac:spMk id="225" creationId="{7C69B050-26D8-48A8-8232-9F11ABE056BE}"/>
          </ac:spMkLst>
        </pc:spChg>
        <pc:spChg chg="mod">
          <ac:chgData name="PROVENCHERE Sandrine" userId="ad1decff-d2ce-4d29-9d90-3591b80bc438" providerId="ADAL" clId="{E65BD9C0-CDAC-4338-A78A-D75BAE3A8EBD}" dt="2022-02-15T18:52:14.558" v="10231"/>
          <ac:spMkLst>
            <pc:docMk/>
            <pc:sldMk cId="2139671919" sldId="316"/>
            <ac:spMk id="231" creationId="{9DAB1727-85DE-4C88-870C-B0887B66B280}"/>
          </ac:spMkLst>
        </pc:spChg>
        <pc:spChg chg="mod ord">
          <ac:chgData name="PROVENCHERE Sandrine" userId="ad1decff-d2ce-4d29-9d90-3591b80bc438" providerId="ADAL" clId="{E65BD9C0-CDAC-4338-A78A-D75BAE3A8EBD}" dt="2022-02-15T18:52:14.574" v="10270"/>
          <ac:spMkLst>
            <pc:docMk/>
            <pc:sldMk cId="2139671919" sldId="316"/>
            <ac:spMk id="232" creationId="{ADB348D0-7624-433F-B531-E77AAD87473B}"/>
          </ac:spMkLst>
        </pc:spChg>
        <pc:spChg chg="mod ord">
          <ac:chgData name="PROVENCHERE Sandrine" userId="ad1decff-d2ce-4d29-9d90-3591b80bc438" providerId="ADAL" clId="{E65BD9C0-CDAC-4338-A78A-D75BAE3A8EBD}" dt="2022-02-15T18:52:14.599" v="10358"/>
          <ac:spMkLst>
            <pc:docMk/>
            <pc:sldMk cId="2139671919" sldId="316"/>
            <ac:spMk id="241" creationId="{60E0184D-3E44-45FF-8DCD-30320905649A}"/>
          </ac:spMkLst>
        </pc:spChg>
        <pc:spChg chg="mod ord">
          <ac:chgData name="PROVENCHERE Sandrine" userId="ad1decff-d2ce-4d29-9d90-3591b80bc438" providerId="ADAL" clId="{E65BD9C0-CDAC-4338-A78A-D75BAE3A8EBD}" dt="2022-02-15T18:52:14.599" v="10360"/>
          <ac:spMkLst>
            <pc:docMk/>
            <pc:sldMk cId="2139671919" sldId="316"/>
            <ac:spMk id="242" creationId="{CDC85699-793F-4A70-B9B6-9D55CF5F68E1}"/>
          </ac:spMkLst>
        </pc:spChg>
        <pc:spChg chg="mod">
          <ac:chgData name="PROVENCHERE Sandrine" userId="ad1decff-d2ce-4d29-9d90-3591b80bc438" providerId="ADAL" clId="{E65BD9C0-CDAC-4338-A78A-D75BAE3A8EBD}" dt="2022-02-15T18:52:14.558" v="10228"/>
          <ac:spMkLst>
            <pc:docMk/>
            <pc:sldMk cId="2139671919" sldId="316"/>
            <ac:spMk id="243" creationId="{E822A056-89C3-4153-B409-05DC6455FEBA}"/>
          </ac:spMkLst>
        </pc:spChg>
        <pc:spChg chg="mod">
          <ac:chgData name="PROVENCHERE Sandrine" userId="ad1decff-d2ce-4d29-9d90-3591b80bc438" providerId="ADAL" clId="{E65BD9C0-CDAC-4338-A78A-D75BAE3A8EBD}" dt="2022-02-15T18:52:14.540" v="10186"/>
          <ac:spMkLst>
            <pc:docMk/>
            <pc:sldMk cId="2139671919" sldId="316"/>
            <ac:spMk id="244" creationId="{44704398-683D-48B0-AC44-89855D366DAB}"/>
          </ac:spMkLst>
        </pc:spChg>
        <pc:spChg chg="mod ord">
          <ac:chgData name="PROVENCHERE Sandrine" userId="ad1decff-d2ce-4d29-9d90-3591b80bc438" providerId="ADAL" clId="{E65BD9C0-CDAC-4338-A78A-D75BAE3A8EBD}" dt="2022-02-15T18:52:14.574" v="10275"/>
          <ac:spMkLst>
            <pc:docMk/>
            <pc:sldMk cId="2139671919" sldId="316"/>
            <ac:spMk id="246" creationId="{5480C29B-7193-449F-A0FE-8AAB28454918}"/>
          </ac:spMkLst>
        </pc:spChg>
        <pc:spChg chg="del mod ord">
          <ac:chgData name="PROVENCHERE Sandrine" userId="ad1decff-d2ce-4d29-9d90-3591b80bc438" providerId="ADAL" clId="{E65BD9C0-CDAC-4338-A78A-D75BAE3A8EBD}" dt="2022-02-15T18:51:36.911" v="8907"/>
          <ac:spMkLst>
            <pc:docMk/>
            <pc:sldMk cId="2139671919" sldId="316"/>
            <ac:spMk id="248" creationId="{D4A80F1B-4E5E-4901-A7A0-CABD12E65445}"/>
          </ac:spMkLst>
        </pc:spChg>
        <pc:spChg chg="mod">
          <ac:chgData name="PROVENCHERE Sandrine" userId="ad1decff-d2ce-4d29-9d90-3591b80bc438" providerId="ADAL" clId="{E65BD9C0-CDAC-4338-A78A-D75BAE3A8EBD}" dt="2022-02-15T18:52:14.558" v="10234"/>
          <ac:spMkLst>
            <pc:docMk/>
            <pc:sldMk cId="2139671919" sldId="316"/>
            <ac:spMk id="249" creationId="{FE2AF8E1-021B-4925-A50C-61D6B9784F07}"/>
          </ac:spMkLst>
        </pc:spChg>
        <pc:spChg chg="mod">
          <ac:chgData name="PROVENCHERE Sandrine" userId="ad1decff-d2ce-4d29-9d90-3591b80bc438" providerId="ADAL" clId="{E65BD9C0-CDAC-4338-A78A-D75BAE3A8EBD}" dt="2022-02-15T18:52:14.540" v="10188"/>
          <ac:spMkLst>
            <pc:docMk/>
            <pc:sldMk cId="2139671919" sldId="316"/>
            <ac:spMk id="250" creationId="{310F3317-B6FE-436B-A317-50F2F752A604}"/>
          </ac:spMkLst>
        </pc:spChg>
        <pc:spChg chg="mod">
          <ac:chgData name="PROVENCHERE Sandrine" userId="ad1decff-d2ce-4d29-9d90-3591b80bc438" providerId="ADAL" clId="{E65BD9C0-CDAC-4338-A78A-D75BAE3A8EBD}" dt="2022-02-15T18:52:14.558" v="10238"/>
          <ac:spMkLst>
            <pc:docMk/>
            <pc:sldMk cId="2139671919" sldId="316"/>
            <ac:spMk id="251" creationId="{5CDAFCAA-C9AD-40EF-A66C-9DC47B61C5F7}"/>
          </ac:spMkLst>
        </pc:spChg>
        <pc:spChg chg="mod">
          <ac:chgData name="PROVENCHERE Sandrine" userId="ad1decff-d2ce-4d29-9d90-3591b80bc438" providerId="ADAL" clId="{E65BD9C0-CDAC-4338-A78A-D75BAE3A8EBD}" dt="2022-02-15T18:52:14.558" v="10239"/>
          <ac:spMkLst>
            <pc:docMk/>
            <pc:sldMk cId="2139671919" sldId="316"/>
            <ac:spMk id="252" creationId="{E44FA3F9-BBC5-4BB8-A896-1E8F4522B495}"/>
          </ac:spMkLst>
        </pc:spChg>
        <pc:spChg chg="mod">
          <ac:chgData name="PROVENCHERE Sandrine" userId="ad1decff-d2ce-4d29-9d90-3591b80bc438" providerId="ADAL" clId="{E65BD9C0-CDAC-4338-A78A-D75BAE3A8EBD}" dt="2022-02-15T18:52:14.558" v="10240"/>
          <ac:spMkLst>
            <pc:docMk/>
            <pc:sldMk cId="2139671919" sldId="316"/>
            <ac:spMk id="253" creationId="{9E5D728D-6F0F-421D-B7DC-1A1BB71BA9D5}"/>
          </ac:spMkLst>
        </pc:spChg>
        <pc:spChg chg="mod">
          <ac:chgData name="PROVENCHERE Sandrine" userId="ad1decff-d2ce-4d29-9d90-3591b80bc438" providerId="ADAL" clId="{E65BD9C0-CDAC-4338-A78A-D75BAE3A8EBD}" dt="2022-02-15T18:52:14.558" v="10241"/>
          <ac:spMkLst>
            <pc:docMk/>
            <pc:sldMk cId="2139671919" sldId="316"/>
            <ac:spMk id="254" creationId="{E992ED24-1CD8-4CA9-BF0E-6DA59771652E}"/>
          </ac:spMkLst>
        </pc:spChg>
        <pc:spChg chg="mod">
          <ac:chgData name="PROVENCHERE Sandrine" userId="ad1decff-d2ce-4d29-9d90-3591b80bc438" providerId="ADAL" clId="{E65BD9C0-CDAC-4338-A78A-D75BAE3A8EBD}" dt="2022-02-15T18:52:14.558" v="10243"/>
          <ac:spMkLst>
            <pc:docMk/>
            <pc:sldMk cId="2139671919" sldId="316"/>
            <ac:spMk id="255" creationId="{8018FAA8-7B21-428E-94E6-184A6D0C2BA6}"/>
          </ac:spMkLst>
        </pc:spChg>
        <pc:spChg chg="mod">
          <ac:chgData name="PROVENCHERE Sandrine" userId="ad1decff-d2ce-4d29-9d90-3591b80bc438" providerId="ADAL" clId="{E65BD9C0-CDAC-4338-A78A-D75BAE3A8EBD}" dt="2022-02-15T18:52:14.558" v="10244"/>
          <ac:spMkLst>
            <pc:docMk/>
            <pc:sldMk cId="2139671919" sldId="316"/>
            <ac:spMk id="256" creationId="{B184CD83-843D-4E16-A0A9-F56E75F1C37B}"/>
          </ac:spMkLst>
        </pc:spChg>
        <pc:spChg chg="mod ord">
          <ac:chgData name="PROVENCHERE Sandrine" userId="ad1decff-d2ce-4d29-9d90-3591b80bc438" providerId="ADAL" clId="{E65BD9C0-CDAC-4338-A78A-D75BAE3A8EBD}" dt="2022-02-15T18:52:14.599" v="10364"/>
          <ac:spMkLst>
            <pc:docMk/>
            <pc:sldMk cId="2139671919" sldId="316"/>
            <ac:spMk id="257" creationId="{5D03E258-852E-41C6-A6E6-DDC6914F81E3}"/>
          </ac:spMkLst>
        </pc:spChg>
        <pc:spChg chg="mod ord">
          <ac:chgData name="PROVENCHERE Sandrine" userId="ad1decff-d2ce-4d29-9d90-3591b80bc438" providerId="ADAL" clId="{E65BD9C0-CDAC-4338-A78A-D75BAE3A8EBD}" dt="2022-02-15T18:52:14.524" v="10150"/>
          <ac:spMkLst>
            <pc:docMk/>
            <pc:sldMk cId="2139671919" sldId="316"/>
            <ac:spMk id="259" creationId="{23E859CE-D762-473B-A6A4-43916782E141}"/>
          </ac:spMkLst>
        </pc:spChg>
        <pc:spChg chg="mod ord">
          <ac:chgData name="PROVENCHERE Sandrine" userId="ad1decff-d2ce-4d29-9d90-3591b80bc438" providerId="ADAL" clId="{E65BD9C0-CDAC-4338-A78A-D75BAE3A8EBD}" dt="2022-02-15T18:52:14.574" v="10304"/>
          <ac:spMkLst>
            <pc:docMk/>
            <pc:sldMk cId="2139671919" sldId="316"/>
            <ac:spMk id="260" creationId="{EC730ABB-01FC-4F7B-BC43-D750336F74D7}"/>
          </ac:spMkLst>
        </pc:spChg>
        <pc:spChg chg="mod ord">
          <ac:chgData name="PROVENCHERE Sandrine" userId="ad1decff-d2ce-4d29-9d90-3591b80bc438" providerId="ADAL" clId="{E65BD9C0-CDAC-4338-A78A-D75BAE3A8EBD}" dt="2022-02-15T18:52:14.574" v="10306"/>
          <ac:spMkLst>
            <pc:docMk/>
            <pc:sldMk cId="2139671919" sldId="316"/>
            <ac:spMk id="261" creationId="{A10A4420-66C8-42DE-82D1-BEFFB2419C97}"/>
          </ac:spMkLst>
        </pc:spChg>
        <pc:spChg chg="mod ord">
          <ac:chgData name="PROVENCHERE Sandrine" userId="ad1decff-d2ce-4d29-9d90-3591b80bc438" providerId="ADAL" clId="{E65BD9C0-CDAC-4338-A78A-D75BAE3A8EBD}" dt="2022-02-15T18:52:14.574" v="10308"/>
          <ac:spMkLst>
            <pc:docMk/>
            <pc:sldMk cId="2139671919" sldId="316"/>
            <ac:spMk id="262" creationId="{37A8C09C-710F-48E5-AF07-424C5D583BDF}"/>
          </ac:spMkLst>
        </pc:spChg>
        <pc:spChg chg="mod ord">
          <ac:chgData name="PROVENCHERE Sandrine" userId="ad1decff-d2ce-4d29-9d90-3591b80bc438" providerId="ADAL" clId="{E65BD9C0-CDAC-4338-A78A-D75BAE3A8EBD}" dt="2022-02-15T18:52:14.574" v="10310"/>
          <ac:spMkLst>
            <pc:docMk/>
            <pc:sldMk cId="2139671919" sldId="316"/>
            <ac:spMk id="263" creationId="{54604176-CFA7-41D5-BE94-A3AE78B7F4C2}"/>
          </ac:spMkLst>
        </pc:spChg>
        <pc:spChg chg="mod ord">
          <ac:chgData name="PROVENCHERE Sandrine" userId="ad1decff-d2ce-4d29-9d90-3591b80bc438" providerId="ADAL" clId="{E65BD9C0-CDAC-4338-A78A-D75BAE3A8EBD}" dt="2022-02-15T18:52:14.574" v="10312"/>
          <ac:spMkLst>
            <pc:docMk/>
            <pc:sldMk cId="2139671919" sldId="316"/>
            <ac:spMk id="264" creationId="{E165D15C-4633-4830-B94D-6C1F5067BE22}"/>
          </ac:spMkLst>
        </pc:spChg>
        <pc:spChg chg="mod ord">
          <ac:chgData name="PROVENCHERE Sandrine" userId="ad1decff-d2ce-4d29-9d90-3591b80bc438" providerId="ADAL" clId="{E65BD9C0-CDAC-4338-A78A-D75BAE3A8EBD}" dt="2022-02-15T18:52:14.599" v="10366"/>
          <ac:spMkLst>
            <pc:docMk/>
            <pc:sldMk cId="2139671919" sldId="316"/>
            <ac:spMk id="267" creationId="{C49FCF00-D4FB-49DD-81EA-E4E96B6CD637}"/>
          </ac:spMkLst>
        </pc:spChg>
        <pc:spChg chg="mod ord">
          <ac:chgData name="PROVENCHERE Sandrine" userId="ad1decff-d2ce-4d29-9d90-3591b80bc438" providerId="ADAL" clId="{E65BD9C0-CDAC-4338-A78A-D75BAE3A8EBD}" dt="2022-02-15T18:52:14.574" v="10318"/>
          <ac:spMkLst>
            <pc:docMk/>
            <pc:sldMk cId="2139671919" sldId="316"/>
            <ac:spMk id="268" creationId="{6A2D1725-9C14-496A-BCDA-9B2E63233BDD}"/>
          </ac:spMkLst>
        </pc:spChg>
        <pc:spChg chg="mod">
          <ac:chgData name="PROVENCHERE Sandrine" userId="ad1decff-d2ce-4d29-9d90-3591b80bc438" providerId="ADAL" clId="{E65BD9C0-CDAC-4338-A78A-D75BAE3A8EBD}" dt="2022-02-15T18:52:14.558" v="10237"/>
          <ac:spMkLst>
            <pc:docMk/>
            <pc:sldMk cId="2139671919" sldId="316"/>
            <ac:spMk id="269" creationId="{ADCB16C4-8A35-48D5-966E-42597DE13F0A}"/>
          </ac:spMkLst>
        </pc:spChg>
        <pc:spChg chg="mod">
          <ac:chgData name="PROVENCHERE Sandrine" userId="ad1decff-d2ce-4d29-9d90-3591b80bc438" providerId="ADAL" clId="{E65BD9C0-CDAC-4338-A78A-D75BAE3A8EBD}" dt="2022-02-15T18:52:14.558" v="10245"/>
          <ac:spMkLst>
            <pc:docMk/>
            <pc:sldMk cId="2139671919" sldId="316"/>
            <ac:spMk id="270" creationId="{BD818887-4A6F-45E5-BE13-9D37F6B75E46}"/>
          </ac:spMkLst>
        </pc:spChg>
        <pc:spChg chg="mod">
          <ac:chgData name="PROVENCHERE Sandrine" userId="ad1decff-d2ce-4d29-9d90-3591b80bc438" providerId="ADAL" clId="{E65BD9C0-CDAC-4338-A78A-D75BAE3A8EBD}" dt="2022-02-15T18:52:14.558" v="10248"/>
          <ac:spMkLst>
            <pc:docMk/>
            <pc:sldMk cId="2139671919" sldId="316"/>
            <ac:spMk id="271" creationId="{801AC9E9-1D92-49E3-A258-DC7AE554BC94}"/>
          </ac:spMkLst>
        </pc:spChg>
        <pc:spChg chg="mod">
          <ac:chgData name="PROVENCHERE Sandrine" userId="ad1decff-d2ce-4d29-9d90-3591b80bc438" providerId="ADAL" clId="{E65BD9C0-CDAC-4338-A78A-D75BAE3A8EBD}" dt="2022-02-15T18:52:14.558" v="10242"/>
          <ac:spMkLst>
            <pc:docMk/>
            <pc:sldMk cId="2139671919" sldId="316"/>
            <ac:spMk id="272" creationId="{C29A3822-0DA3-4B63-A3A7-098F85EB0AC5}"/>
          </ac:spMkLst>
        </pc:spChg>
        <pc:spChg chg="mod ord">
          <ac:chgData name="PROVENCHERE Sandrine" userId="ad1decff-d2ce-4d29-9d90-3591b80bc438" providerId="ADAL" clId="{E65BD9C0-CDAC-4338-A78A-D75BAE3A8EBD}" dt="2022-02-15T18:52:14.599" v="10372"/>
          <ac:spMkLst>
            <pc:docMk/>
            <pc:sldMk cId="2139671919" sldId="316"/>
            <ac:spMk id="275" creationId="{F0A72C28-CB29-4FEA-85F5-C8445BB9BCEB}"/>
          </ac:spMkLst>
        </pc:spChg>
        <pc:spChg chg="mod ord">
          <ac:chgData name="PROVENCHERE Sandrine" userId="ad1decff-d2ce-4d29-9d90-3591b80bc438" providerId="ADAL" clId="{E65BD9C0-CDAC-4338-A78A-D75BAE3A8EBD}" dt="2022-02-15T18:52:14.590" v="10324"/>
          <ac:spMkLst>
            <pc:docMk/>
            <pc:sldMk cId="2139671919" sldId="316"/>
            <ac:spMk id="276" creationId="{F0E35A8C-6FA8-4F3C-8269-002FD9ACF97E}"/>
          </ac:spMkLst>
        </pc:spChg>
        <pc:spChg chg="mod ord">
          <ac:chgData name="PROVENCHERE Sandrine" userId="ad1decff-d2ce-4d29-9d90-3591b80bc438" providerId="ADAL" clId="{E65BD9C0-CDAC-4338-A78A-D75BAE3A8EBD}" dt="2022-02-15T18:52:14.590" v="10326"/>
          <ac:spMkLst>
            <pc:docMk/>
            <pc:sldMk cId="2139671919" sldId="316"/>
            <ac:spMk id="277" creationId="{5FC510A5-37A9-4F76-974D-7679B28FABBD}"/>
          </ac:spMkLst>
        </pc:spChg>
        <pc:spChg chg="mod ord">
          <ac:chgData name="PROVENCHERE Sandrine" userId="ad1decff-d2ce-4d29-9d90-3591b80bc438" providerId="ADAL" clId="{E65BD9C0-CDAC-4338-A78A-D75BAE3A8EBD}" dt="2022-02-15T18:52:14.590" v="10328"/>
          <ac:spMkLst>
            <pc:docMk/>
            <pc:sldMk cId="2139671919" sldId="316"/>
            <ac:spMk id="278" creationId="{EC78708A-7225-4B28-BF64-1C278245839A}"/>
          </ac:spMkLst>
        </pc:spChg>
        <pc:spChg chg="mod ord">
          <ac:chgData name="PROVENCHERE Sandrine" userId="ad1decff-d2ce-4d29-9d90-3591b80bc438" providerId="ADAL" clId="{E65BD9C0-CDAC-4338-A78A-D75BAE3A8EBD}" dt="2022-02-15T18:52:14.599" v="10374"/>
          <ac:spMkLst>
            <pc:docMk/>
            <pc:sldMk cId="2139671919" sldId="316"/>
            <ac:spMk id="280" creationId="{C35AFC77-FE66-442F-89EC-28FA71755578}"/>
          </ac:spMkLst>
        </pc:spChg>
        <pc:spChg chg="mod ord">
          <ac:chgData name="PROVENCHERE Sandrine" userId="ad1decff-d2ce-4d29-9d90-3591b80bc438" providerId="ADAL" clId="{E65BD9C0-CDAC-4338-A78A-D75BAE3A8EBD}" dt="2022-02-15T18:52:14.599" v="10376"/>
          <ac:spMkLst>
            <pc:docMk/>
            <pc:sldMk cId="2139671919" sldId="316"/>
            <ac:spMk id="281" creationId="{EF8EA109-00D6-48C4-B00A-A14A08926E8D}"/>
          </ac:spMkLst>
        </pc:spChg>
        <pc:spChg chg="mod ord">
          <ac:chgData name="PROVENCHERE Sandrine" userId="ad1decff-d2ce-4d29-9d90-3591b80bc438" providerId="ADAL" clId="{E65BD9C0-CDAC-4338-A78A-D75BAE3A8EBD}" dt="2022-02-15T18:52:14.599" v="10378"/>
          <ac:spMkLst>
            <pc:docMk/>
            <pc:sldMk cId="2139671919" sldId="316"/>
            <ac:spMk id="282" creationId="{1BA2E13E-34A9-444F-8511-93E90DF08A08}"/>
          </ac:spMkLst>
        </pc:spChg>
        <pc:spChg chg="mod">
          <ac:chgData name="PROVENCHERE Sandrine" userId="ad1decff-d2ce-4d29-9d90-3591b80bc438" providerId="ADAL" clId="{E65BD9C0-CDAC-4338-A78A-D75BAE3A8EBD}" dt="2022-02-15T18:52:14.558" v="10264"/>
          <ac:spMkLst>
            <pc:docMk/>
            <pc:sldMk cId="2139671919" sldId="316"/>
            <ac:spMk id="285" creationId="{4FBFF8CD-1F13-4A0E-AEA3-0B14C0BB0D03}"/>
          </ac:spMkLst>
        </pc:spChg>
        <pc:spChg chg="mod">
          <ac:chgData name="PROVENCHERE Sandrine" userId="ad1decff-d2ce-4d29-9d90-3591b80bc438" providerId="ADAL" clId="{E65BD9C0-CDAC-4338-A78A-D75BAE3A8EBD}" dt="2022-02-15T18:52:14.573" v="10266"/>
          <ac:spMkLst>
            <pc:docMk/>
            <pc:sldMk cId="2139671919" sldId="316"/>
            <ac:spMk id="287" creationId="{78E3F856-CF8D-49A6-AFBD-174771AD6AA5}"/>
          </ac:spMkLst>
        </pc:spChg>
        <pc:spChg chg="mod">
          <ac:chgData name="PROVENCHERE Sandrine" userId="ad1decff-d2ce-4d29-9d90-3591b80bc438" providerId="ADAL" clId="{E65BD9C0-CDAC-4338-A78A-D75BAE3A8EBD}" dt="2022-02-15T18:52:14.574" v="10267"/>
          <ac:spMkLst>
            <pc:docMk/>
            <pc:sldMk cId="2139671919" sldId="316"/>
            <ac:spMk id="290" creationId="{9C00030C-7042-43CA-A152-D703539E535B}"/>
          </ac:spMkLst>
        </pc:spChg>
        <pc:spChg chg="mod">
          <ac:chgData name="PROVENCHERE Sandrine" userId="ad1decff-d2ce-4d29-9d90-3591b80bc438" providerId="ADAL" clId="{E65BD9C0-CDAC-4338-A78A-D75BAE3A8EBD}" dt="2022-02-15T18:52:14.574" v="10268"/>
          <ac:spMkLst>
            <pc:docMk/>
            <pc:sldMk cId="2139671919" sldId="316"/>
            <ac:spMk id="291" creationId="{A7AC68EB-12FC-4FF7-90A9-14590001DDC5}"/>
          </ac:spMkLst>
        </pc:spChg>
        <pc:spChg chg="mod">
          <ac:chgData name="PROVENCHERE Sandrine" userId="ad1decff-d2ce-4d29-9d90-3591b80bc438" providerId="ADAL" clId="{E65BD9C0-CDAC-4338-A78A-D75BAE3A8EBD}" dt="2022-02-15T18:52:14.574" v="10273"/>
          <ac:spMkLst>
            <pc:docMk/>
            <pc:sldMk cId="2139671919" sldId="316"/>
            <ac:spMk id="296" creationId="{4127FB0A-700F-416E-9931-FE0A7156891F}"/>
          </ac:spMkLst>
        </pc:spChg>
        <pc:spChg chg="mod">
          <ac:chgData name="PROVENCHERE Sandrine" userId="ad1decff-d2ce-4d29-9d90-3591b80bc438" providerId="ADAL" clId="{E65BD9C0-CDAC-4338-A78A-D75BAE3A8EBD}" dt="2022-02-15T18:52:14.558" v="10265"/>
          <ac:spMkLst>
            <pc:docMk/>
            <pc:sldMk cId="2139671919" sldId="316"/>
            <ac:spMk id="297" creationId="{75F0082D-E9BB-4073-932E-E9ECA1CD6BF2}"/>
          </ac:spMkLst>
        </pc:spChg>
        <pc:spChg chg="mod ord">
          <ac:chgData name="PROVENCHERE Sandrine" userId="ad1decff-d2ce-4d29-9d90-3591b80bc438" providerId="ADAL" clId="{E65BD9C0-CDAC-4338-A78A-D75BAE3A8EBD}" dt="2022-02-15T18:52:14.540" v="10210"/>
          <ac:spMkLst>
            <pc:docMk/>
            <pc:sldMk cId="2139671919" sldId="316"/>
            <ac:spMk id="301" creationId="{0E222F4E-57D0-4A60-83DA-DF2D46BDC957}"/>
          </ac:spMkLst>
        </pc:spChg>
        <pc:spChg chg="mod">
          <ac:chgData name="PROVENCHERE Sandrine" userId="ad1decff-d2ce-4d29-9d90-3591b80bc438" providerId="ADAL" clId="{E65BD9C0-CDAC-4338-A78A-D75BAE3A8EBD}" dt="2022-02-15T18:52:14.540" v="10206"/>
          <ac:spMkLst>
            <pc:docMk/>
            <pc:sldMk cId="2139671919" sldId="316"/>
            <ac:spMk id="302" creationId="{792B99E9-7506-47FC-9BA8-9F1C2F6839B9}"/>
          </ac:spMkLst>
        </pc:spChg>
        <pc:spChg chg="mod ord">
          <ac:chgData name="PROVENCHERE Sandrine" userId="ad1decff-d2ce-4d29-9d90-3591b80bc438" providerId="ADAL" clId="{E65BD9C0-CDAC-4338-A78A-D75BAE3A8EBD}" dt="2022-02-15T18:52:14.540" v="10212"/>
          <ac:spMkLst>
            <pc:docMk/>
            <pc:sldMk cId="2139671919" sldId="316"/>
            <ac:spMk id="303" creationId="{E8D5E44D-9F6F-4591-A128-D45FEBB91CCE}"/>
          </ac:spMkLst>
        </pc:spChg>
        <pc:spChg chg="mod ord">
          <ac:chgData name="PROVENCHERE Sandrine" userId="ad1decff-d2ce-4d29-9d90-3591b80bc438" providerId="ADAL" clId="{E65BD9C0-CDAC-4338-A78A-D75BAE3A8EBD}" dt="2022-02-15T18:52:14.540" v="10208"/>
          <ac:spMkLst>
            <pc:docMk/>
            <pc:sldMk cId="2139671919" sldId="316"/>
            <ac:spMk id="304" creationId="{4A8310BC-D557-409B-902F-54798E9EA84E}"/>
          </ac:spMkLst>
        </pc:spChg>
        <pc:spChg chg="mod">
          <ac:chgData name="PROVENCHERE Sandrine" userId="ad1decff-d2ce-4d29-9d90-3591b80bc438" providerId="ADAL" clId="{E65BD9C0-CDAC-4338-A78A-D75BAE3A8EBD}" dt="2022-02-15T18:52:14.574" v="10276"/>
          <ac:spMkLst>
            <pc:docMk/>
            <pc:sldMk cId="2139671919" sldId="316"/>
            <ac:spMk id="305" creationId="{72423AB5-0EFE-4A23-B449-89AB17F27D0F}"/>
          </ac:spMkLst>
        </pc:spChg>
        <pc:spChg chg="mod">
          <ac:chgData name="PROVENCHERE Sandrine" userId="ad1decff-d2ce-4d29-9d90-3591b80bc438" providerId="ADAL" clId="{E65BD9C0-CDAC-4338-A78A-D75BAE3A8EBD}" dt="2022-02-15T18:52:14.574" v="10279"/>
          <ac:spMkLst>
            <pc:docMk/>
            <pc:sldMk cId="2139671919" sldId="316"/>
            <ac:spMk id="306" creationId="{F9E298DC-FB44-4989-B99C-BFA5496F4B6A}"/>
          </ac:spMkLst>
        </pc:spChg>
        <pc:spChg chg="mod">
          <ac:chgData name="PROVENCHERE Sandrine" userId="ad1decff-d2ce-4d29-9d90-3591b80bc438" providerId="ADAL" clId="{E65BD9C0-CDAC-4338-A78A-D75BAE3A8EBD}" dt="2022-02-15T18:52:14.574" v="10280"/>
          <ac:spMkLst>
            <pc:docMk/>
            <pc:sldMk cId="2139671919" sldId="316"/>
            <ac:spMk id="308" creationId="{036C4584-D6DE-4F5A-830B-4A75D9C0A74B}"/>
          </ac:spMkLst>
        </pc:spChg>
        <pc:spChg chg="mod">
          <ac:chgData name="PROVENCHERE Sandrine" userId="ad1decff-d2ce-4d29-9d90-3591b80bc438" providerId="ADAL" clId="{E65BD9C0-CDAC-4338-A78A-D75BAE3A8EBD}" dt="2022-02-15T18:52:14.574" v="10281"/>
          <ac:spMkLst>
            <pc:docMk/>
            <pc:sldMk cId="2139671919" sldId="316"/>
            <ac:spMk id="309" creationId="{9C94DB25-19A6-4D8E-A20F-D9BC82B07C4F}"/>
          </ac:spMkLst>
        </pc:spChg>
        <pc:spChg chg="mod">
          <ac:chgData name="PROVENCHERE Sandrine" userId="ad1decff-d2ce-4d29-9d90-3591b80bc438" providerId="ADAL" clId="{E65BD9C0-CDAC-4338-A78A-D75BAE3A8EBD}" dt="2022-02-15T18:52:14.574" v="10282"/>
          <ac:spMkLst>
            <pc:docMk/>
            <pc:sldMk cId="2139671919" sldId="316"/>
            <ac:spMk id="310" creationId="{757A8F63-F070-4348-BF12-B4B44925B988}"/>
          </ac:spMkLst>
        </pc:spChg>
        <pc:spChg chg="mod">
          <ac:chgData name="PROVENCHERE Sandrine" userId="ad1decff-d2ce-4d29-9d90-3591b80bc438" providerId="ADAL" clId="{E65BD9C0-CDAC-4338-A78A-D75BAE3A8EBD}" dt="2022-02-15T18:52:14.574" v="10283"/>
          <ac:spMkLst>
            <pc:docMk/>
            <pc:sldMk cId="2139671919" sldId="316"/>
            <ac:spMk id="311" creationId="{5BE3D011-9291-4D2B-A39F-EAC4ED0AE2AD}"/>
          </ac:spMkLst>
        </pc:spChg>
        <pc:spChg chg="mod">
          <ac:chgData name="PROVENCHERE Sandrine" userId="ad1decff-d2ce-4d29-9d90-3591b80bc438" providerId="ADAL" clId="{E65BD9C0-CDAC-4338-A78A-D75BAE3A8EBD}" dt="2022-02-15T18:52:14.574" v="10284"/>
          <ac:spMkLst>
            <pc:docMk/>
            <pc:sldMk cId="2139671919" sldId="316"/>
            <ac:spMk id="312" creationId="{366A2090-8D9C-47F9-AEE9-46AABFD42368}"/>
          </ac:spMkLst>
        </pc:spChg>
        <pc:spChg chg="mod">
          <ac:chgData name="PROVENCHERE Sandrine" userId="ad1decff-d2ce-4d29-9d90-3591b80bc438" providerId="ADAL" clId="{E65BD9C0-CDAC-4338-A78A-D75BAE3A8EBD}" dt="2022-02-15T18:52:14.540" v="10187"/>
          <ac:spMkLst>
            <pc:docMk/>
            <pc:sldMk cId="2139671919" sldId="316"/>
            <ac:spMk id="318" creationId="{3FD2B578-1CA5-4839-9017-7E3EC6256711}"/>
          </ac:spMkLst>
        </pc:spChg>
        <pc:spChg chg="mod">
          <ac:chgData name="PROVENCHERE Sandrine" userId="ad1decff-d2ce-4d29-9d90-3591b80bc438" providerId="ADAL" clId="{E65BD9C0-CDAC-4338-A78A-D75BAE3A8EBD}" dt="2022-02-15T18:52:14.540" v="10189"/>
          <ac:spMkLst>
            <pc:docMk/>
            <pc:sldMk cId="2139671919" sldId="316"/>
            <ac:spMk id="321" creationId="{24A04A89-1568-403D-97E2-65DAF015C362}"/>
          </ac:spMkLst>
        </pc:spChg>
        <pc:spChg chg="mod">
          <ac:chgData name="PROVENCHERE Sandrine" userId="ad1decff-d2ce-4d29-9d90-3591b80bc438" providerId="ADAL" clId="{E65BD9C0-CDAC-4338-A78A-D75BAE3A8EBD}" dt="2022-02-15T18:52:14.540" v="10190"/>
          <ac:spMkLst>
            <pc:docMk/>
            <pc:sldMk cId="2139671919" sldId="316"/>
            <ac:spMk id="323" creationId="{5FAD09DC-1BCC-466C-A83F-7F46577C368B}"/>
          </ac:spMkLst>
        </pc:spChg>
        <pc:spChg chg="del mod">
          <ac:chgData name="PROVENCHERE Sandrine" userId="ad1decff-d2ce-4d29-9d90-3591b80bc438" providerId="ADAL" clId="{E65BD9C0-CDAC-4338-A78A-D75BAE3A8EBD}" dt="2022-02-15T18:51:36.911" v="8911"/>
          <ac:spMkLst>
            <pc:docMk/>
            <pc:sldMk cId="2139671919" sldId="316"/>
            <ac:spMk id="325" creationId="{9AC11AB8-6836-4499-9807-52E88DB1F8D9}"/>
          </ac:spMkLst>
        </pc:spChg>
        <pc:spChg chg="mod">
          <ac:chgData name="PROVENCHERE Sandrine" userId="ad1decff-d2ce-4d29-9d90-3591b80bc438" providerId="ADAL" clId="{E65BD9C0-CDAC-4338-A78A-D75BAE3A8EBD}" dt="2022-02-15T18:52:14.540" v="10213"/>
          <ac:spMkLst>
            <pc:docMk/>
            <pc:sldMk cId="2139671919" sldId="316"/>
            <ac:spMk id="337" creationId="{E17B4A14-0DC6-4748-9AB0-76BA63D43833}"/>
          </ac:spMkLst>
        </pc:spChg>
        <pc:spChg chg="mod">
          <ac:chgData name="PROVENCHERE Sandrine" userId="ad1decff-d2ce-4d29-9d90-3591b80bc438" providerId="ADAL" clId="{E65BD9C0-CDAC-4338-A78A-D75BAE3A8EBD}" dt="2022-02-15T18:52:14.540" v="10214"/>
          <ac:spMkLst>
            <pc:docMk/>
            <pc:sldMk cId="2139671919" sldId="316"/>
            <ac:spMk id="350" creationId="{7C573944-9D35-4E24-908D-AB871EB87F6B}"/>
          </ac:spMkLst>
        </pc:spChg>
        <pc:spChg chg="mod">
          <ac:chgData name="PROVENCHERE Sandrine" userId="ad1decff-d2ce-4d29-9d90-3591b80bc438" providerId="ADAL" clId="{E65BD9C0-CDAC-4338-A78A-D75BAE3A8EBD}" dt="2022-02-15T18:52:14.540" v="10205"/>
          <ac:spMkLst>
            <pc:docMk/>
            <pc:sldMk cId="2139671919" sldId="316"/>
            <ac:spMk id="352" creationId="{3457CB0F-B3D8-40D5-91D2-4F9AE7D78E86}"/>
          </ac:spMkLst>
        </pc:spChg>
        <pc:spChg chg="mod ord">
          <ac:chgData name="PROVENCHERE Sandrine" userId="ad1decff-d2ce-4d29-9d90-3591b80bc438" providerId="ADAL" clId="{E65BD9C0-CDAC-4338-A78A-D75BAE3A8EBD}" dt="2022-02-15T18:53:31.375" v="10398" actId="1076"/>
          <ac:spMkLst>
            <pc:docMk/>
            <pc:sldMk cId="2139671919" sldId="316"/>
            <ac:spMk id="355" creationId="{C1E61069-C8CA-4019-A975-62D182A8B9CC}"/>
          </ac:spMkLst>
        </pc:spChg>
        <pc:spChg chg="mod">
          <ac:chgData name="PROVENCHERE Sandrine" userId="ad1decff-d2ce-4d29-9d90-3591b80bc438" providerId="ADAL" clId="{E65BD9C0-CDAC-4338-A78A-D75BAE3A8EBD}" dt="2022-02-15T18:52:14.540" v="10215"/>
          <ac:spMkLst>
            <pc:docMk/>
            <pc:sldMk cId="2139671919" sldId="316"/>
            <ac:spMk id="356" creationId="{D8C455AB-39E6-4CB4-BA75-E5C956AA5BD6}"/>
          </ac:spMkLst>
        </pc:spChg>
        <pc:spChg chg="mod ord">
          <ac:chgData name="PROVENCHERE Sandrine" userId="ad1decff-d2ce-4d29-9d90-3591b80bc438" providerId="ADAL" clId="{E65BD9C0-CDAC-4338-A78A-D75BAE3A8EBD}" dt="2022-02-15T18:54:19.424" v="10412" actId="20577"/>
          <ac:spMkLst>
            <pc:docMk/>
            <pc:sldMk cId="2139671919" sldId="316"/>
            <ac:spMk id="357" creationId="{4250E03D-4363-4E0A-85E5-48B3FEE56E02}"/>
          </ac:spMkLst>
        </pc:spChg>
        <pc:spChg chg="mod ord">
          <ac:chgData name="PROVENCHERE Sandrine" userId="ad1decff-d2ce-4d29-9d90-3591b80bc438" providerId="ADAL" clId="{E65BD9C0-CDAC-4338-A78A-D75BAE3A8EBD}" dt="2022-02-15T18:54:04.842" v="10410" actId="1076"/>
          <ac:spMkLst>
            <pc:docMk/>
            <pc:sldMk cId="2139671919" sldId="316"/>
            <ac:spMk id="358" creationId="{9C34914F-1284-4D25-9932-A77D91B995E9}"/>
          </ac:spMkLst>
        </pc:spChg>
        <pc:spChg chg="del mod ord">
          <ac:chgData name="PROVENCHERE Sandrine" userId="ad1decff-d2ce-4d29-9d90-3591b80bc438" providerId="ADAL" clId="{E65BD9C0-CDAC-4338-A78A-D75BAE3A8EBD}" dt="2022-02-15T18:53:35.774" v="10399" actId="478"/>
          <ac:spMkLst>
            <pc:docMk/>
            <pc:sldMk cId="2139671919" sldId="316"/>
            <ac:spMk id="359" creationId="{B17A55F9-3C90-4D02-B1A7-69898512B1A2}"/>
          </ac:spMkLst>
        </pc:spChg>
        <pc:spChg chg="mod ord">
          <ac:chgData name="PROVENCHERE Sandrine" userId="ad1decff-d2ce-4d29-9d90-3591b80bc438" providerId="ADAL" clId="{E65BD9C0-CDAC-4338-A78A-D75BAE3A8EBD}" dt="2022-02-15T18:55:18.442" v="10430" actId="207"/>
          <ac:spMkLst>
            <pc:docMk/>
            <pc:sldMk cId="2139671919" sldId="316"/>
            <ac:spMk id="360" creationId="{19196A2D-C978-4BD8-9E36-35CF1698960A}"/>
          </ac:spMkLst>
        </pc:spChg>
        <pc:spChg chg="mod ord">
          <ac:chgData name="PROVENCHERE Sandrine" userId="ad1decff-d2ce-4d29-9d90-3591b80bc438" providerId="ADAL" clId="{E65BD9C0-CDAC-4338-A78A-D75BAE3A8EBD}" dt="2022-02-15T18:55:14.977" v="10429" actId="207"/>
          <ac:spMkLst>
            <pc:docMk/>
            <pc:sldMk cId="2139671919" sldId="316"/>
            <ac:spMk id="361" creationId="{F5E423ED-6FCC-414B-84A6-82A4C6F9788A}"/>
          </ac:spMkLst>
        </pc:spChg>
        <pc:spChg chg="mod ord">
          <ac:chgData name="PROVENCHERE Sandrine" userId="ad1decff-d2ce-4d29-9d90-3591b80bc438" providerId="ADAL" clId="{E65BD9C0-CDAC-4338-A78A-D75BAE3A8EBD}" dt="2022-02-15T18:55:10.059" v="10428" actId="207"/>
          <ac:spMkLst>
            <pc:docMk/>
            <pc:sldMk cId="2139671919" sldId="316"/>
            <ac:spMk id="362" creationId="{A6114E1E-91F5-478D-949C-061199671015}"/>
          </ac:spMkLst>
        </pc:spChg>
        <pc:spChg chg="mod ord">
          <ac:chgData name="PROVENCHERE Sandrine" userId="ad1decff-d2ce-4d29-9d90-3591b80bc438" providerId="ADAL" clId="{E65BD9C0-CDAC-4338-A78A-D75BAE3A8EBD}" dt="2022-02-15T18:52:14.597" v="10350"/>
          <ac:spMkLst>
            <pc:docMk/>
            <pc:sldMk cId="2139671919" sldId="316"/>
            <ac:spMk id="363" creationId="{1EE6DD91-8F5D-4718-8FF9-03E431B13210}"/>
          </ac:spMkLst>
        </pc:spChg>
        <pc:spChg chg="mod ord">
          <ac:chgData name="PROVENCHERE Sandrine" userId="ad1decff-d2ce-4d29-9d90-3591b80bc438" providerId="ADAL" clId="{E65BD9C0-CDAC-4338-A78A-D75BAE3A8EBD}" dt="2022-02-15T18:55:24.326" v="10431" actId="207"/>
          <ac:spMkLst>
            <pc:docMk/>
            <pc:sldMk cId="2139671919" sldId="316"/>
            <ac:spMk id="364" creationId="{A74B8A5E-C0E5-4919-BF72-E9ADB9693DF2}"/>
          </ac:spMkLst>
        </pc:spChg>
        <pc:spChg chg="mod ord">
          <ac:chgData name="PROVENCHERE Sandrine" userId="ad1decff-d2ce-4d29-9d90-3591b80bc438" providerId="ADAL" clId="{E65BD9C0-CDAC-4338-A78A-D75BAE3A8EBD}" dt="2022-02-15T18:55:46.392" v="10434" actId="20577"/>
          <ac:spMkLst>
            <pc:docMk/>
            <pc:sldMk cId="2139671919" sldId="316"/>
            <ac:spMk id="365" creationId="{7950B871-6B59-452A-B8F1-129A33AC9478}"/>
          </ac:spMkLst>
        </pc:spChg>
        <pc:spChg chg="mod ord">
          <ac:chgData name="PROVENCHERE Sandrine" userId="ad1decff-d2ce-4d29-9d90-3591b80bc438" providerId="ADAL" clId="{E65BD9C0-CDAC-4338-A78A-D75BAE3A8EBD}" dt="2022-02-15T18:55:41.320" v="10433" actId="20577"/>
          <ac:spMkLst>
            <pc:docMk/>
            <pc:sldMk cId="2139671919" sldId="316"/>
            <ac:spMk id="366" creationId="{886E17A4-5421-4A86-A1AE-1A457E232E50}"/>
          </ac:spMkLst>
        </pc:spChg>
        <pc:spChg chg="mod">
          <ac:chgData name="PROVENCHERE Sandrine" userId="ad1decff-d2ce-4d29-9d90-3591b80bc438" providerId="ADAL" clId="{E65BD9C0-CDAC-4338-A78A-D75BAE3A8EBD}" dt="2022-02-15T18:52:14.540" v="10216"/>
          <ac:spMkLst>
            <pc:docMk/>
            <pc:sldMk cId="2139671919" sldId="316"/>
            <ac:spMk id="412" creationId="{F0D1334D-247F-479D-841F-3855BCAF0A42}"/>
          </ac:spMkLst>
        </pc:spChg>
        <pc:spChg chg="mod ord">
          <ac:chgData name="PROVENCHERE Sandrine" userId="ad1decff-d2ce-4d29-9d90-3591b80bc438" providerId="ADAL" clId="{E65BD9C0-CDAC-4338-A78A-D75BAE3A8EBD}" dt="2022-02-15T18:52:14.540" v="10168"/>
          <ac:spMkLst>
            <pc:docMk/>
            <pc:sldMk cId="2139671919" sldId="316"/>
            <ac:spMk id="587" creationId="{7FC2D976-FF61-496E-BC30-76433C060A8D}"/>
          </ac:spMkLst>
        </pc:spChg>
        <pc:grpChg chg="mod ord">
          <ac:chgData name="PROVENCHERE Sandrine" userId="ad1decff-d2ce-4d29-9d90-3591b80bc438" providerId="ADAL" clId="{E65BD9C0-CDAC-4338-A78A-D75BAE3A8EBD}" dt="2022-02-15T18:52:14.599" v="10362"/>
          <ac:grpSpMkLst>
            <pc:docMk/>
            <pc:sldMk cId="2139671919" sldId="316"/>
            <ac:grpSpMk id="23" creationId="{0D795AFA-2D29-4CAE-B26D-3434FEF16F46}"/>
          </ac:grpSpMkLst>
        </pc:grpChg>
        <pc:grpChg chg="mod ord">
          <ac:chgData name="PROVENCHERE Sandrine" userId="ad1decff-d2ce-4d29-9d90-3591b80bc438" providerId="ADAL" clId="{E65BD9C0-CDAC-4338-A78A-D75BAE3A8EBD}" dt="2022-02-15T18:52:14.574" v="10298"/>
          <ac:grpSpMkLst>
            <pc:docMk/>
            <pc:sldMk cId="2139671919" sldId="316"/>
            <ac:grpSpMk id="224" creationId="{E0E45818-B40E-4631-B714-2C9F181FC426}"/>
          </ac:grpSpMkLst>
        </pc:grpChg>
        <pc:grpChg chg="mod ord">
          <ac:chgData name="PROVENCHERE Sandrine" userId="ad1decff-d2ce-4d29-9d90-3591b80bc438" providerId="ADAL" clId="{E65BD9C0-CDAC-4338-A78A-D75BAE3A8EBD}" dt="2022-02-15T18:52:14.599" v="10386"/>
          <ac:grpSpMkLst>
            <pc:docMk/>
            <pc:sldMk cId="2139671919" sldId="316"/>
            <ac:grpSpMk id="314" creationId="{4C839737-8DDF-4A7F-9873-AC79B19D6E63}"/>
          </ac:grpSpMkLst>
        </pc:grpChg>
        <pc:grpChg chg="mod ord">
          <ac:chgData name="PROVENCHERE Sandrine" userId="ad1decff-d2ce-4d29-9d90-3591b80bc438" providerId="ADAL" clId="{E65BD9C0-CDAC-4338-A78A-D75BAE3A8EBD}" dt="2022-02-15T18:52:14.607" v="10388"/>
          <ac:grpSpMkLst>
            <pc:docMk/>
            <pc:sldMk cId="2139671919" sldId="316"/>
            <ac:grpSpMk id="317" creationId="{43FBFDCF-B3FA-4656-931F-770429E1A114}"/>
          </ac:grpSpMkLst>
        </pc:grpChg>
        <pc:graphicFrameChg chg="mod">
          <ac:chgData name="PROVENCHERE Sandrine" userId="ad1decff-d2ce-4d29-9d90-3591b80bc438" providerId="ADAL" clId="{E65BD9C0-CDAC-4338-A78A-D75BAE3A8EBD}" dt="2022-02-15T18:52:14.630" v="10396"/>
          <ac:graphicFrameMkLst>
            <pc:docMk/>
            <pc:sldMk cId="2139671919" sldId="316"/>
            <ac:graphicFrameMk id="6" creationId="{57E14FF0-0B68-4969-BEF0-799A891BCBC3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51:37.074" v="9021"/>
          <ac:graphicFrameMkLst>
            <pc:docMk/>
            <pc:sldMk cId="2139671919" sldId="316"/>
            <ac:graphicFrameMk id="166" creationId="{8E84A000-D30E-419E-A715-01D45CCE1989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51:41.359" v="9324"/>
          <ac:graphicFrameMkLst>
            <pc:docMk/>
            <pc:sldMk cId="2139671919" sldId="316"/>
            <ac:graphicFrameMk id="168" creationId="{2C2A15BB-D385-4A54-B6CD-4030B68442B4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52:14.469" v="10139"/>
          <ac:graphicFrameMkLst>
            <pc:docMk/>
            <pc:sldMk cId="2139671919" sldId="316"/>
            <ac:graphicFrameMk id="169" creationId="{7CFF98D6-AACC-47F0-80EE-E36DAF778113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5T18:52:14.540" v="10204"/>
          <ac:graphicFrameMkLst>
            <pc:docMk/>
            <pc:sldMk cId="2139671919" sldId="316"/>
            <ac:graphicFrameMk id="173" creationId="{B045062F-96D1-4D4A-BC6F-C45F4717D330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5T18:52:14.540" v="10185"/>
          <ac:graphicFrameMkLst>
            <pc:docMk/>
            <pc:sldMk cId="2139671919" sldId="316"/>
            <ac:graphicFrameMk id="174" creationId="{28FB9154-A834-44D4-B216-6FE0D490B829}"/>
          </ac:graphicFrameMkLst>
        </pc:graphicFrameChg>
        <pc:graphicFrameChg chg="del mod">
          <ac:chgData name="PROVENCHERE Sandrine" userId="ad1decff-d2ce-4d29-9d90-3591b80bc438" providerId="ADAL" clId="{E65BD9C0-CDAC-4338-A78A-D75BAE3A8EBD}" dt="2022-02-15T18:51:56.642" v="9812"/>
          <ac:graphicFrameMkLst>
            <pc:docMk/>
            <pc:sldMk cId="2139671919" sldId="316"/>
            <ac:graphicFrameMk id="176" creationId="{21B041E7-BE8F-40BF-9E82-52B7EF89D578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52:14.558" v="10221"/>
          <ac:graphicFrameMkLst>
            <pc:docMk/>
            <pc:sldMk cId="2139671919" sldId="316"/>
            <ac:graphicFrameMk id="283" creationId="{42BACAFC-8966-4E6B-8C89-47F15287A457}"/>
          </ac:graphicFrameMkLst>
        </pc:graphicFrameChg>
        <pc:graphicFrameChg chg="mod ord">
          <ac:chgData name="PROVENCHERE Sandrine" userId="ad1decff-d2ce-4d29-9d90-3591b80bc438" providerId="ADAL" clId="{E65BD9C0-CDAC-4338-A78A-D75BAE3A8EBD}" dt="2022-02-15T18:52:14.599" v="10380"/>
          <ac:graphicFrameMkLst>
            <pc:docMk/>
            <pc:sldMk cId="2139671919" sldId="316"/>
            <ac:graphicFrameMk id="298" creationId="{D64DE84F-2B82-44CB-9B61-C15425C39929}"/>
          </ac:graphicFrameMkLst>
        </pc:graphicFrameChg>
        <pc:graphicFrameChg chg="mod ord">
          <ac:chgData name="PROVENCHERE Sandrine" userId="ad1decff-d2ce-4d29-9d90-3591b80bc438" providerId="ADAL" clId="{E65BD9C0-CDAC-4338-A78A-D75BAE3A8EBD}" dt="2022-02-15T18:52:14.599" v="10382"/>
          <ac:graphicFrameMkLst>
            <pc:docMk/>
            <pc:sldMk cId="2139671919" sldId="316"/>
            <ac:graphicFrameMk id="299" creationId="{E6D899DD-271A-4BA2-B71A-FFD985AC4795}"/>
          </ac:graphicFrameMkLst>
        </pc:graphicFrameChg>
        <pc:graphicFrameChg chg="del">
          <ac:chgData name="PROVENCHERE Sandrine" userId="ad1decff-d2ce-4d29-9d90-3591b80bc438" providerId="ADAL" clId="{E65BD9C0-CDAC-4338-A78A-D75BAE3A8EBD}" dt="2022-02-15T18:51:33.179" v="8639"/>
          <ac:graphicFrameMkLst>
            <pc:docMk/>
            <pc:sldMk cId="2139671919" sldId="316"/>
            <ac:graphicFrameMk id="307" creationId="{FF304146-B410-4690-82CE-B49E1CA7529E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52:14.558" v="10263"/>
          <ac:graphicFrameMkLst>
            <pc:docMk/>
            <pc:sldMk cId="2139671919" sldId="316"/>
            <ac:graphicFrameMk id="313" creationId="{321D9E6D-70F6-43F6-B61D-84DBFA4FCB23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52:14.607" v="10389"/>
          <ac:graphicFrameMkLst>
            <pc:docMk/>
            <pc:sldMk cId="2139671919" sldId="316"/>
            <ac:graphicFrameMk id="324" creationId="{4A9F05B8-4C61-41AD-B6FE-012BC0EA6717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52:14.607" v="10392"/>
          <ac:graphicFrameMkLst>
            <pc:docMk/>
            <pc:sldMk cId="2139671919" sldId="316"/>
            <ac:graphicFrameMk id="326" creationId="{2EFAD91C-BAC7-4F15-859B-7DC7BBC5D264}"/>
          </ac:graphicFrameMkLst>
        </pc:graphicFrameChg>
        <pc:picChg chg="mod ord">
          <ac:chgData name="PROVENCHERE Sandrine" userId="ad1decff-d2ce-4d29-9d90-3591b80bc438" providerId="ADAL" clId="{E65BD9C0-CDAC-4338-A78A-D75BAE3A8EBD}" dt="2022-02-15T18:52:14.540" v="10174"/>
          <ac:picMkLst>
            <pc:docMk/>
            <pc:sldMk cId="2139671919" sldId="316"/>
            <ac:picMk id="163" creationId="{3BC3DAD2-8ED9-424E-A55E-E1890FE3F429}"/>
          </ac:picMkLst>
        </pc:picChg>
        <pc:picChg chg="mod ord">
          <ac:chgData name="PROVENCHERE Sandrine" userId="ad1decff-d2ce-4d29-9d90-3591b80bc438" providerId="ADAL" clId="{E65BD9C0-CDAC-4338-A78A-D75BAE3A8EBD}" dt="2022-02-15T18:52:14.574" v="10300"/>
          <ac:picMkLst>
            <pc:docMk/>
            <pc:sldMk cId="2139671919" sldId="316"/>
            <ac:picMk id="226" creationId="{E5904904-D88F-4CF1-9C77-B7E09E7CCC4B}"/>
          </ac:picMkLst>
        </pc:picChg>
        <pc:picChg chg="mod ord">
          <ac:chgData name="PROVENCHERE Sandrine" userId="ad1decff-d2ce-4d29-9d90-3591b80bc438" providerId="ADAL" clId="{E65BD9C0-CDAC-4338-A78A-D75BAE3A8EBD}" dt="2022-02-15T18:52:14.574" v="10302"/>
          <ac:picMkLst>
            <pc:docMk/>
            <pc:sldMk cId="2139671919" sldId="316"/>
            <ac:picMk id="235" creationId="{220EB096-C32C-4AF7-B8C4-9BEADBE025D0}"/>
          </ac:picMkLst>
        </pc:picChg>
        <pc:picChg chg="mod ord">
          <ac:chgData name="PROVENCHERE Sandrine" userId="ad1decff-d2ce-4d29-9d90-3591b80bc438" providerId="ADAL" clId="{E65BD9C0-CDAC-4338-A78A-D75BAE3A8EBD}" dt="2022-02-15T18:52:14.574" v="10314"/>
          <ac:picMkLst>
            <pc:docMk/>
            <pc:sldMk cId="2139671919" sldId="316"/>
            <ac:picMk id="265" creationId="{5B0D0375-7556-4333-AD89-10E3CDB44481}"/>
          </ac:picMkLst>
        </pc:picChg>
        <pc:picChg chg="mod ord">
          <ac:chgData name="PROVENCHERE Sandrine" userId="ad1decff-d2ce-4d29-9d90-3591b80bc438" providerId="ADAL" clId="{E65BD9C0-CDAC-4338-A78A-D75BAE3A8EBD}" dt="2022-02-15T18:52:14.574" v="10316"/>
          <ac:picMkLst>
            <pc:docMk/>
            <pc:sldMk cId="2139671919" sldId="316"/>
            <ac:picMk id="266" creationId="{D9C302AC-93BF-45BC-ABEA-BA155C880603}"/>
          </ac:picMkLst>
        </pc:picChg>
        <pc:picChg chg="mod ord">
          <ac:chgData name="PROVENCHERE Sandrine" userId="ad1decff-d2ce-4d29-9d90-3591b80bc438" providerId="ADAL" clId="{E65BD9C0-CDAC-4338-A78A-D75BAE3A8EBD}" dt="2022-02-15T18:52:14.599" v="10368"/>
          <ac:picMkLst>
            <pc:docMk/>
            <pc:sldMk cId="2139671919" sldId="316"/>
            <ac:picMk id="273" creationId="{3183903A-232E-4403-9435-C409F6B2FB05}"/>
          </ac:picMkLst>
        </pc:picChg>
        <pc:picChg chg="mod ord">
          <ac:chgData name="PROVENCHERE Sandrine" userId="ad1decff-d2ce-4d29-9d90-3591b80bc438" providerId="ADAL" clId="{E65BD9C0-CDAC-4338-A78A-D75BAE3A8EBD}" dt="2022-02-15T18:52:14.599" v="10370"/>
          <ac:picMkLst>
            <pc:docMk/>
            <pc:sldMk cId="2139671919" sldId="316"/>
            <ac:picMk id="274" creationId="{F522400D-D672-4F8A-B425-4DD291EE6AD4}"/>
          </ac:picMkLst>
        </pc:picChg>
        <pc:picChg chg="mod ord">
          <ac:chgData name="PROVENCHERE Sandrine" userId="ad1decff-d2ce-4d29-9d90-3591b80bc438" providerId="ADAL" clId="{E65BD9C0-CDAC-4338-A78A-D75BAE3A8EBD}" dt="2022-02-15T18:52:14.524" v="10162"/>
          <ac:picMkLst>
            <pc:docMk/>
            <pc:sldMk cId="2139671919" sldId="316"/>
            <ac:picMk id="288" creationId="{E97DC373-C2F1-4407-B1E9-062788795879}"/>
          </ac:picMkLst>
        </pc:picChg>
        <pc:picChg chg="mod ord">
          <ac:chgData name="PROVENCHERE Sandrine" userId="ad1decff-d2ce-4d29-9d90-3591b80bc438" providerId="ADAL" clId="{E65BD9C0-CDAC-4338-A78A-D75BAE3A8EBD}" dt="2022-02-15T18:52:14.540" v="10164"/>
          <ac:picMkLst>
            <pc:docMk/>
            <pc:sldMk cId="2139671919" sldId="316"/>
            <ac:picMk id="289" creationId="{D3A2FE86-7E4C-444A-AF3A-E5EE7E89CA36}"/>
          </ac:picMkLst>
        </pc:picChg>
        <pc:picChg chg="mod ord">
          <ac:chgData name="PROVENCHERE Sandrine" userId="ad1decff-d2ce-4d29-9d90-3591b80bc438" providerId="ADAL" clId="{E65BD9C0-CDAC-4338-A78A-D75BAE3A8EBD}" dt="2022-02-15T18:52:14.590" v="10330"/>
          <ac:picMkLst>
            <pc:docMk/>
            <pc:sldMk cId="2139671919" sldId="316"/>
            <ac:picMk id="330" creationId="{7291A2C6-1F44-433E-8D67-8E5FDED700D8}"/>
          </ac:picMkLst>
        </pc:picChg>
        <pc:picChg chg="mod ord">
          <ac:chgData name="PROVENCHERE Sandrine" userId="ad1decff-d2ce-4d29-9d90-3591b80bc438" providerId="ADAL" clId="{E65BD9C0-CDAC-4338-A78A-D75BAE3A8EBD}" dt="2022-02-15T18:52:14.590" v="10332"/>
          <ac:picMkLst>
            <pc:docMk/>
            <pc:sldMk cId="2139671919" sldId="316"/>
            <ac:picMk id="331" creationId="{07776989-3012-448A-B792-6035EC30C0C7}"/>
          </ac:picMkLst>
        </pc:picChg>
        <pc:picChg chg="mod ord">
          <ac:chgData name="PROVENCHERE Sandrine" userId="ad1decff-d2ce-4d29-9d90-3591b80bc438" providerId="ADAL" clId="{E65BD9C0-CDAC-4338-A78A-D75BAE3A8EBD}" dt="2022-02-15T18:52:14.524" v="10148"/>
          <ac:picMkLst>
            <pc:docMk/>
            <pc:sldMk cId="2139671919" sldId="316"/>
            <ac:picMk id="628" creationId="{28B31F95-BE17-4F95-B08B-A75F5988F9D5}"/>
          </ac:picMkLst>
        </pc:picChg>
        <pc:cxnChg chg="mod ord">
          <ac:chgData name="PROVENCHERE Sandrine" userId="ad1decff-d2ce-4d29-9d90-3591b80bc438" providerId="ADAL" clId="{E65BD9C0-CDAC-4338-A78A-D75BAE3A8EBD}" dt="2022-02-15T18:52:14.558" v="10254"/>
          <ac:cxnSpMkLst>
            <pc:docMk/>
            <pc:sldMk cId="2139671919" sldId="316"/>
            <ac:cxnSpMk id="4" creationId="{ED80DA2B-47C8-47B1-AFB7-5FC763270831}"/>
          </ac:cxnSpMkLst>
        </pc:cxnChg>
        <pc:cxnChg chg="mod ord">
          <ac:chgData name="PROVENCHERE Sandrine" userId="ad1decff-d2ce-4d29-9d90-3591b80bc438" providerId="ADAL" clId="{E65BD9C0-CDAC-4338-A78A-D75BAE3A8EBD}" dt="2022-02-15T18:52:14.607" v="10391"/>
          <ac:cxnSpMkLst>
            <pc:docMk/>
            <pc:sldMk cId="2139671919" sldId="316"/>
            <ac:cxnSpMk id="7" creationId="{62A22F70-FB03-456A-83CB-014703592A3E}"/>
          </ac:cxnSpMkLst>
        </pc:cxnChg>
        <pc:cxnChg chg="mod ord">
          <ac:chgData name="PROVENCHERE Sandrine" userId="ad1decff-d2ce-4d29-9d90-3591b80bc438" providerId="ADAL" clId="{E65BD9C0-CDAC-4338-A78A-D75BAE3A8EBD}" dt="2022-02-15T18:52:14.558" v="10256"/>
          <ac:cxnSpMkLst>
            <pc:docMk/>
            <pc:sldMk cId="2139671919" sldId="316"/>
            <ac:cxnSpMk id="12" creationId="{6F679206-3DC2-4012-8017-4B807F48499C}"/>
          </ac:cxnSpMkLst>
        </pc:cxnChg>
        <pc:cxnChg chg="mod ord">
          <ac:chgData name="PROVENCHERE Sandrine" userId="ad1decff-d2ce-4d29-9d90-3591b80bc438" providerId="ADAL" clId="{E65BD9C0-CDAC-4338-A78A-D75BAE3A8EBD}" dt="2022-02-15T18:52:14.558" v="10252"/>
          <ac:cxnSpMkLst>
            <pc:docMk/>
            <pc:sldMk cId="2139671919" sldId="316"/>
            <ac:cxnSpMk id="14" creationId="{D49100A0-C151-4CA3-A7BC-FD2749A72A3C}"/>
          </ac:cxnSpMkLst>
        </pc:cxnChg>
        <pc:cxnChg chg="mod ord">
          <ac:chgData name="PROVENCHERE Sandrine" userId="ad1decff-d2ce-4d29-9d90-3591b80bc438" providerId="ADAL" clId="{E65BD9C0-CDAC-4338-A78A-D75BAE3A8EBD}" dt="2022-02-15T18:52:14.558" v="10258"/>
          <ac:cxnSpMkLst>
            <pc:docMk/>
            <pc:sldMk cId="2139671919" sldId="316"/>
            <ac:cxnSpMk id="15" creationId="{F5F2A09A-D365-4B86-BDF7-F29A39758932}"/>
          </ac:cxnSpMkLst>
        </pc:cxnChg>
        <pc:cxnChg chg="mod ord">
          <ac:chgData name="PROVENCHERE Sandrine" userId="ad1decff-d2ce-4d29-9d90-3591b80bc438" providerId="ADAL" clId="{E65BD9C0-CDAC-4338-A78A-D75BAE3A8EBD}" dt="2022-02-15T18:52:14.574" v="10286"/>
          <ac:cxnSpMkLst>
            <pc:docMk/>
            <pc:sldMk cId="2139671919" sldId="316"/>
            <ac:cxnSpMk id="24" creationId="{11B8B09D-36B8-4ACE-8D68-500FE4CE1F92}"/>
          </ac:cxnSpMkLst>
        </pc:cxnChg>
        <pc:cxnChg chg="mod ord">
          <ac:chgData name="PROVENCHERE Sandrine" userId="ad1decff-d2ce-4d29-9d90-3591b80bc438" providerId="ADAL" clId="{E65BD9C0-CDAC-4338-A78A-D75BAE3A8EBD}" dt="2022-02-15T18:52:14.574" v="10288"/>
          <ac:cxnSpMkLst>
            <pc:docMk/>
            <pc:sldMk cId="2139671919" sldId="316"/>
            <ac:cxnSpMk id="26" creationId="{41AA9206-C201-4B98-9269-0A817B3170CA}"/>
          </ac:cxnSpMkLst>
        </pc:cxnChg>
        <pc:cxnChg chg="mod ord">
          <ac:chgData name="PROVENCHERE Sandrine" userId="ad1decff-d2ce-4d29-9d90-3591b80bc438" providerId="ADAL" clId="{E65BD9C0-CDAC-4338-A78A-D75BAE3A8EBD}" dt="2022-02-15T18:52:14.574" v="10290"/>
          <ac:cxnSpMkLst>
            <pc:docMk/>
            <pc:sldMk cId="2139671919" sldId="316"/>
            <ac:cxnSpMk id="27" creationId="{8B3CAAB4-9345-46D6-90B7-F1DFD5C4CE33}"/>
          </ac:cxnSpMkLst>
        </pc:cxnChg>
        <pc:cxnChg chg="mod ord">
          <ac:chgData name="PROVENCHERE Sandrine" userId="ad1decff-d2ce-4d29-9d90-3591b80bc438" providerId="ADAL" clId="{E65BD9C0-CDAC-4338-A78A-D75BAE3A8EBD}" dt="2022-02-15T18:52:14.574" v="10292"/>
          <ac:cxnSpMkLst>
            <pc:docMk/>
            <pc:sldMk cId="2139671919" sldId="316"/>
            <ac:cxnSpMk id="29" creationId="{648A47E9-1630-478E-B25C-4F567BC60775}"/>
          </ac:cxnSpMkLst>
        </pc:cxnChg>
        <pc:cxnChg chg="mod ord">
          <ac:chgData name="PROVENCHERE Sandrine" userId="ad1decff-d2ce-4d29-9d90-3591b80bc438" providerId="ADAL" clId="{E65BD9C0-CDAC-4338-A78A-D75BAE3A8EBD}" dt="2022-02-15T18:52:14.540" v="10178"/>
          <ac:cxnSpMkLst>
            <pc:docMk/>
            <pc:sldMk cId="2139671919" sldId="316"/>
            <ac:cxnSpMk id="236" creationId="{AA1FDE45-0B9D-4D01-B3C9-677FB72BB1FD}"/>
          </ac:cxnSpMkLst>
        </pc:cxnChg>
        <pc:cxnChg chg="mod ord">
          <ac:chgData name="PROVENCHERE Sandrine" userId="ad1decff-d2ce-4d29-9d90-3591b80bc438" providerId="ADAL" clId="{E65BD9C0-CDAC-4338-A78A-D75BAE3A8EBD}" dt="2022-02-15T18:52:14.540" v="10180"/>
          <ac:cxnSpMkLst>
            <pc:docMk/>
            <pc:sldMk cId="2139671919" sldId="316"/>
            <ac:cxnSpMk id="237" creationId="{7465A2B5-A087-41D9-BDCF-605FFF5D9968}"/>
          </ac:cxnSpMkLst>
        </pc:cxnChg>
        <pc:cxnChg chg="mod ord">
          <ac:chgData name="PROVENCHERE Sandrine" userId="ad1decff-d2ce-4d29-9d90-3591b80bc438" providerId="ADAL" clId="{E65BD9C0-CDAC-4338-A78A-D75BAE3A8EBD}" dt="2022-02-15T18:52:14.540" v="10182"/>
          <ac:cxnSpMkLst>
            <pc:docMk/>
            <pc:sldMk cId="2139671919" sldId="316"/>
            <ac:cxnSpMk id="238" creationId="{E9D357AF-B119-44D4-A938-72657FD66F59}"/>
          </ac:cxnSpMkLst>
        </pc:cxnChg>
        <pc:cxnChg chg="mod ord">
          <ac:chgData name="PROVENCHERE Sandrine" userId="ad1decff-d2ce-4d29-9d90-3591b80bc438" providerId="ADAL" clId="{E65BD9C0-CDAC-4338-A78A-D75BAE3A8EBD}" dt="2022-02-15T18:52:14.540" v="10184"/>
          <ac:cxnSpMkLst>
            <pc:docMk/>
            <pc:sldMk cId="2139671919" sldId="316"/>
            <ac:cxnSpMk id="239" creationId="{13F1A2BD-C98E-43DB-8866-363DC24BF961}"/>
          </ac:cxnSpMkLst>
        </pc:cxnChg>
        <pc:cxnChg chg="del mod ord">
          <ac:chgData name="PROVENCHERE Sandrine" userId="ad1decff-d2ce-4d29-9d90-3591b80bc438" providerId="ADAL" clId="{E65BD9C0-CDAC-4338-A78A-D75BAE3A8EBD}" dt="2022-02-15T18:51:36.911" v="8910"/>
          <ac:cxnSpMkLst>
            <pc:docMk/>
            <pc:sldMk cId="2139671919" sldId="316"/>
            <ac:cxnSpMk id="240" creationId="{128DD387-22BD-42A3-B808-54C04F58229B}"/>
          </ac:cxnSpMkLst>
        </pc:cxnChg>
        <pc:cxnChg chg="mod ord">
          <ac:chgData name="PROVENCHERE Sandrine" userId="ad1decff-d2ce-4d29-9d90-3591b80bc438" providerId="ADAL" clId="{E65BD9C0-CDAC-4338-A78A-D75BAE3A8EBD}" dt="2022-02-15T18:52:14.540" v="10192"/>
          <ac:cxnSpMkLst>
            <pc:docMk/>
            <pc:sldMk cId="2139671919" sldId="316"/>
            <ac:cxnSpMk id="258" creationId="{E8E7019A-5327-4CE4-BFA7-3C388DC4E25E}"/>
          </ac:cxnSpMkLst>
        </pc:cxnChg>
        <pc:cxnChg chg="mod ord">
          <ac:chgData name="PROVENCHERE Sandrine" userId="ad1decff-d2ce-4d29-9d90-3591b80bc438" providerId="ADAL" clId="{E65BD9C0-CDAC-4338-A78A-D75BAE3A8EBD}" dt="2022-02-15T18:52:14.609" v="10394"/>
          <ac:cxnSpMkLst>
            <pc:docMk/>
            <pc:sldMk cId="2139671919" sldId="316"/>
            <ac:cxnSpMk id="279" creationId="{96EB7270-1670-4F9D-A817-68DA75900D78}"/>
          </ac:cxnSpMkLst>
        </pc:cxnChg>
        <pc:cxnChg chg="mod ord">
          <ac:chgData name="PROVENCHERE Sandrine" userId="ad1decff-d2ce-4d29-9d90-3591b80bc438" providerId="ADAL" clId="{E65BD9C0-CDAC-4338-A78A-D75BAE3A8EBD}" dt="2022-02-15T18:52:14.540" v="10198"/>
          <ac:cxnSpMkLst>
            <pc:docMk/>
            <pc:sldMk cId="2139671919" sldId="316"/>
            <ac:cxnSpMk id="286" creationId="{792D639D-417A-4350-96F5-6C3B528BEBB9}"/>
          </ac:cxnSpMkLst>
        </pc:cxnChg>
        <pc:cxnChg chg="mod ord">
          <ac:chgData name="PROVENCHERE Sandrine" userId="ad1decff-d2ce-4d29-9d90-3591b80bc438" providerId="ADAL" clId="{E65BD9C0-CDAC-4338-A78A-D75BAE3A8EBD}" dt="2022-02-15T18:52:14.540" v="10200"/>
          <ac:cxnSpMkLst>
            <pc:docMk/>
            <pc:sldMk cId="2139671919" sldId="316"/>
            <ac:cxnSpMk id="292" creationId="{4EB1CD05-6D2E-4B27-BE3A-C5D18551CFBC}"/>
          </ac:cxnSpMkLst>
        </pc:cxnChg>
        <pc:cxnChg chg="mod ord">
          <ac:chgData name="PROVENCHERE Sandrine" userId="ad1decff-d2ce-4d29-9d90-3591b80bc438" providerId="ADAL" clId="{E65BD9C0-CDAC-4338-A78A-D75BAE3A8EBD}" dt="2022-02-15T18:52:14.540" v="10202"/>
          <ac:cxnSpMkLst>
            <pc:docMk/>
            <pc:sldMk cId="2139671919" sldId="316"/>
            <ac:cxnSpMk id="293" creationId="{3BD8CEDC-D973-47B5-AC94-45DBAEF262DA}"/>
          </ac:cxnSpMkLst>
        </pc:cxnChg>
        <pc:cxnChg chg="mod ord">
          <ac:chgData name="PROVENCHERE Sandrine" userId="ad1decff-d2ce-4d29-9d90-3591b80bc438" providerId="ADAL" clId="{E65BD9C0-CDAC-4338-A78A-D75BAE3A8EBD}" dt="2022-02-15T18:52:14.540" v="10194"/>
          <ac:cxnSpMkLst>
            <pc:docMk/>
            <pc:sldMk cId="2139671919" sldId="316"/>
            <ac:cxnSpMk id="294" creationId="{4A4D7B39-E4E5-49A1-9AFF-D7FD943668B1}"/>
          </ac:cxnSpMkLst>
        </pc:cxnChg>
        <pc:cxnChg chg="mod ord">
          <ac:chgData name="PROVENCHERE Sandrine" userId="ad1decff-d2ce-4d29-9d90-3591b80bc438" providerId="ADAL" clId="{E65BD9C0-CDAC-4338-A78A-D75BAE3A8EBD}" dt="2022-02-15T18:52:14.540" v="10196"/>
          <ac:cxnSpMkLst>
            <pc:docMk/>
            <pc:sldMk cId="2139671919" sldId="316"/>
            <ac:cxnSpMk id="295" creationId="{74B4828D-8D30-402D-8676-15BCB2E86513}"/>
          </ac:cxnSpMkLst>
        </pc:cxnChg>
        <pc:cxnChg chg="mod ord">
          <ac:chgData name="PROVENCHERE Sandrine" userId="ad1decff-d2ce-4d29-9d90-3591b80bc438" providerId="ADAL" clId="{E65BD9C0-CDAC-4338-A78A-D75BAE3A8EBD}" dt="2022-02-15T18:52:14.599" v="10384"/>
          <ac:cxnSpMkLst>
            <pc:docMk/>
            <pc:sldMk cId="2139671919" sldId="316"/>
            <ac:cxnSpMk id="300" creationId="{49301923-45A2-4EFD-8E4B-5AD618109A8D}"/>
          </ac:cxnSpMkLst>
        </pc:cxnChg>
        <pc:cxnChg chg="mod ord">
          <ac:chgData name="PROVENCHERE Sandrine" userId="ad1decff-d2ce-4d29-9d90-3591b80bc438" providerId="ADAL" clId="{E65BD9C0-CDAC-4338-A78A-D75BAE3A8EBD}" dt="2022-02-15T18:52:14.540" v="10166"/>
          <ac:cxnSpMkLst>
            <pc:docMk/>
            <pc:sldMk cId="2139671919" sldId="316"/>
            <ac:cxnSpMk id="320" creationId="{F605B200-D509-4610-9158-195EB3354579}"/>
          </ac:cxnSpMkLst>
        </pc:cxnChg>
      </pc:sldChg>
      <pc:sldChg chg="addSp delSp modSp add del mod">
        <pc:chgData name="PROVENCHERE Sandrine" userId="ad1decff-d2ce-4d29-9d90-3591b80bc438" providerId="ADAL" clId="{E65BD9C0-CDAC-4338-A78A-D75BAE3A8EBD}" dt="2022-02-15T18:59:14.741" v="12158" actId="2696"/>
        <pc:sldMkLst>
          <pc:docMk/>
          <pc:sldMk cId="3727696409" sldId="317"/>
        </pc:sldMkLst>
        <pc:spChg chg="mod ord">
          <ac:chgData name="PROVENCHERE Sandrine" userId="ad1decff-d2ce-4d29-9d90-3591b80bc438" providerId="ADAL" clId="{E65BD9C0-CDAC-4338-A78A-D75BAE3A8EBD}" dt="2022-02-15T18:57:47.424" v="11134" actId="948"/>
          <ac:spMkLst>
            <pc:docMk/>
            <pc:sldMk cId="3727696409" sldId="317"/>
            <ac:spMk id="2" creationId="{F9B1A035-2CF0-4F9D-9E1F-5C99E51D4AFC}"/>
          </ac:spMkLst>
        </pc:spChg>
        <pc:spChg chg="add del mod modVis">
          <ac:chgData name="PROVENCHERE Sandrine" userId="ad1decff-d2ce-4d29-9d90-3591b80bc438" providerId="ADAL" clId="{E65BD9C0-CDAC-4338-A78A-D75BAE3A8EBD}" dt="2022-02-15T18:56:12.436" v="10788"/>
          <ac:spMkLst>
            <pc:docMk/>
            <pc:sldMk cId="3727696409" sldId="317"/>
            <ac:spMk id="3" creationId="{6D91DCB5-177B-497B-857E-D87F8C7E657E}"/>
          </ac:spMkLst>
        </pc:spChg>
        <pc:spChg chg="add del mod modVis">
          <ac:chgData name="PROVENCHERE Sandrine" userId="ad1decff-d2ce-4d29-9d90-3591b80bc438" providerId="ADAL" clId="{E65BD9C0-CDAC-4338-A78A-D75BAE3A8EBD}" dt="2022-02-15T18:56:49.759" v="10929"/>
          <ac:spMkLst>
            <pc:docMk/>
            <pc:sldMk cId="3727696409" sldId="317"/>
            <ac:spMk id="4" creationId="{0E123895-BCE5-46A1-A38F-7E61A149FBD7}"/>
          </ac:spMkLst>
        </pc:spChg>
        <pc:spChg chg="add del mod modVis">
          <ac:chgData name="PROVENCHERE Sandrine" userId="ad1decff-d2ce-4d29-9d90-3591b80bc438" providerId="ADAL" clId="{E65BD9C0-CDAC-4338-A78A-D75BAE3A8EBD}" dt="2022-02-15T18:56:52.108" v="11070"/>
          <ac:spMkLst>
            <pc:docMk/>
            <pc:sldMk cId="3727696409" sldId="317"/>
            <ac:spMk id="5" creationId="{29E43897-01E6-42C6-B81E-55E60B020DD9}"/>
          </ac:spMkLst>
        </pc:spChg>
        <pc:spChg chg="mod ord">
          <ac:chgData name="PROVENCHERE Sandrine" userId="ad1decff-d2ce-4d29-9d90-3591b80bc438" providerId="ADAL" clId="{E65BD9C0-CDAC-4338-A78A-D75BAE3A8EBD}" dt="2022-02-15T18:56:52.091" v="10994"/>
          <ac:spMkLst>
            <pc:docMk/>
            <pc:sldMk cId="3727696409" sldId="317"/>
            <ac:spMk id="6" creationId="{FB489620-C6BF-4186-8E3F-F876FA63F9D0}"/>
          </ac:spMkLst>
        </pc:spChg>
        <pc:spChg chg="mod ord">
          <ac:chgData name="PROVENCHERE Sandrine" userId="ad1decff-d2ce-4d29-9d90-3591b80bc438" providerId="ADAL" clId="{E65BD9C0-CDAC-4338-A78A-D75BAE3A8EBD}" dt="2022-02-15T18:56:52.091" v="10996"/>
          <ac:spMkLst>
            <pc:docMk/>
            <pc:sldMk cId="3727696409" sldId="317"/>
            <ac:spMk id="7" creationId="{6745335D-FC8B-48AC-8398-E11E408D4F76}"/>
          </ac:spMkLst>
        </pc:spChg>
        <pc:spChg chg="mod ord">
          <ac:chgData name="PROVENCHERE Sandrine" userId="ad1decff-d2ce-4d29-9d90-3591b80bc438" providerId="ADAL" clId="{E65BD9C0-CDAC-4338-A78A-D75BAE3A8EBD}" dt="2022-02-15T18:56:52.108" v="11066"/>
          <ac:spMkLst>
            <pc:docMk/>
            <pc:sldMk cId="3727696409" sldId="317"/>
            <ac:spMk id="31" creationId="{606CF62E-C208-4D8C-9BC1-C3A0985240AB}"/>
          </ac:spMkLst>
        </pc:spChg>
        <pc:spChg chg="mod ord">
          <ac:chgData name="PROVENCHERE Sandrine" userId="ad1decff-d2ce-4d29-9d90-3591b80bc438" providerId="ADAL" clId="{E65BD9C0-CDAC-4338-A78A-D75BAE3A8EBD}" dt="2022-02-15T18:56:52.108" v="11056"/>
          <ac:spMkLst>
            <pc:docMk/>
            <pc:sldMk cId="3727696409" sldId="317"/>
            <ac:spMk id="71" creationId="{EC6758B0-B622-4FC5-A398-E5DF4655F1C2}"/>
          </ac:spMkLst>
        </pc:spChg>
        <pc:spChg chg="mod ord">
          <ac:chgData name="PROVENCHERE Sandrine" userId="ad1decff-d2ce-4d29-9d90-3591b80bc438" providerId="ADAL" clId="{E65BD9C0-CDAC-4338-A78A-D75BAE3A8EBD}" dt="2022-02-15T18:56:52.091" v="10984"/>
          <ac:spMkLst>
            <pc:docMk/>
            <pc:sldMk cId="3727696409" sldId="317"/>
            <ac:spMk id="95" creationId="{95EFB8ED-8525-44D3-81E0-0D09718A157A}"/>
          </ac:spMkLst>
        </pc:spChg>
        <pc:spChg chg="mod ord">
          <ac:chgData name="PROVENCHERE Sandrine" userId="ad1decff-d2ce-4d29-9d90-3591b80bc438" providerId="ADAL" clId="{E65BD9C0-CDAC-4338-A78A-D75BAE3A8EBD}" dt="2022-02-15T18:56:52.108" v="11036"/>
          <ac:spMkLst>
            <pc:docMk/>
            <pc:sldMk cId="3727696409" sldId="317"/>
            <ac:spMk id="98" creationId="{F0937B19-5489-4B9E-A69B-119AB1EA458D}"/>
          </ac:spMkLst>
        </pc:spChg>
        <pc:spChg chg="mod ord">
          <ac:chgData name="PROVENCHERE Sandrine" userId="ad1decff-d2ce-4d29-9d90-3591b80bc438" providerId="ADAL" clId="{E65BD9C0-CDAC-4338-A78A-D75BAE3A8EBD}" dt="2022-02-15T18:56:52.108" v="11038"/>
          <ac:spMkLst>
            <pc:docMk/>
            <pc:sldMk cId="3727696409" sldId="317"/>
            <ac:spMk id="99" creationId="{49164E85-8617-4DC4-BD6B-C8C57128CE6D}"/>
          </ac:spMkLst>
        </pc:spChg>
        <pc:spChg chg="mod">
          <ac:chgData name="PROVENCHERE Sandrine" userId="ad1decff-d2ce-4d29-9d90-3591b80bc438" providerId="ADAL" clId="{E65BD9C0-CDAC-4338-A78A-D75BAE3A8EBD}" dt="2022-02-15T18:56:52.108" v="11025"/>
          <ac:spMkLst>
            <pc:docMk/>
            <pc:sldMk cId="3727696409" sldId="317"/>
            <ac:spMk id="123" creationId="{9C13A0BF-8AAB-40F5-B616-5172541DCF5A}"/>
          </ac:spMkLst>
        </pc:spChg>
        <pc:spChg chg="mod">
          <ac:chgData name="PROVENCHERE Sandrine" userId="ad1decff-d2ce-4d29-9d90-3591b80bc438" providerId="ADAL" clId="{E65BD9C0-CDAC-4338-A78A-D75BAE3A8EBD}" dt="2022-02-15T18:56:52.108" v="11026"/>
          <ac:spMkLst>
            <pc:docMk/>
            <pc:sldMk cId="3727696409" sldId="317"/>
            <ac:spMk id="125" creationId="{B5599E59-CBDC-41CE-84C4-A45705673291}"/>
          </ac:spMkLst>
        </pc:spChg>
        <pc:spChg chg="mod ord">
          <ac:chgData name="PROVENCHERE Sandrine" userId="ad1decff-d2ce-4d29-9d90-3591b80bc438" providerId="ADAL" clId="{E65BD9C0-CDAC-4338-A78A-D75BAE3A8EBD}" dt="2022-02-15T18:56:52.108" v="11058"/>
          <ac:spMkLst>
            <pc:docMk/>
            <pc:sldMk cId="3727696409" sldId="317"/>
            <ac:spMk id="132" creationId="{668BAAB6-FE9E-4B39-B5A2-66A5322C6850}"/>
          </ac:spMkLst>
        </pc:spChg>
        <pc:spChg chg="mod ord">
          <ac:chgData name="PROVENCHERE Sandrine" userId="ad1decff-d2ce-4d29-9d90-3591b80bc438" providerId="ADAL" clId="{E65BD9C0-CDAC-4338-A78A-D75BAE3A8EBD}" dt="2022-02-15T18:56:52.091" v="11006"/>
          <ac:spMkLst>
            <pc:docMk/>
            <pc:sldMk cId="3727696409" sldId="317"/>
            <ac:spMk id="133" creationId="{4831262B-A26E-47A5-A286-710C146AE50D}"/>
          </ac:spMkLst>
        </pc:spChg>
        <pc:spChg chg="mod ord">
          <ac:chgData name="PROVENCHERE Sandrine" userId="ad1decff-d2ce-4d29-9d90-3591b80bc438" providerId="ADAL" clId="{E65BD9C0-CDAC-4338-A78A-D75BAE3A8EBD}" dt="2022-02-15T18:56:52.108" v="11060"/>
          <ac:spMkLst>
            <pc:docMk/>
            <pc:sldMk cId="3727696409" sldId="317"/>
            <ac:spMk id="134" creationId="{A644C5C1-3577-4C2D-941C-1D2455CA5690}"/>
          </ac:spMkLst>
        </pc:spChg>
        <pc:spChg chg="mod ord">
          <ac:chgData name="PROVENCHERE Sandrine" userId="ad1decff-d2ce-4d29-9d90-3591b80bc438" providerId="ADAL" clId="{E65BD9C0-CDAC-4338-A78A-D75BAE3A8EBD}" dt="2022-02-15T18:56:52.108" v="11062"/>
          <ac:spMkLst>
            <pc:docMk/>
            <pc:sldMk cId="3727696409" sldId="317"/>
            <ac:spMk id="135" creationId="{9D0EB6F1-497D-4C6F-8BDD-8BDE253AD6DF}"/>
          </ac:spMkLst>
        </pc:spChg>
        <pc:spChg chg="mod ord">
          <ac:chgData name="PROVENCHERE Sandrine" userId="ad1decff-d2ce-4d29-9d90-3591b80bc438" providerId="ADAL" clId="{E65BD9C0-CDAC-4338-A78A-D75BAE3A8EBD}" dt="2022-02-15T18:56:52.108" v="11064"/>
          <ac:spMkLst>
            <pc:docMk/>
            <pc:sldMk cId="3727696409" sldId="317"/>
            <ac:spMk id="136" creationId="{8BC96117-417D-4BE9-B527-05498D99974F}"/>
          </ac:spMkLst>
        </pc:spChg>
        <pc:spChg chg="mod ord">
          <ac:chgData name="PROVENCHERE Sandrine" userId="ad1decff-d2ce-4d29-9d90-3591b80bc438" providerId="ADAL" clId="{E65BD9C0-CDAC-4338-A78A-D75BAE3A8EBD}" dt="2022-02-15T18:56:52.091" v="11002"/>
          <ac:spMkLst>
            <pc:docMk/>
            <pc:sldMk cId="3727696409" sldId="317"/>
            <ac:spMk id="145" creationId="{FCA74808-F434-4FB1-BE5E-2F031EAA0FDE}"/>
          </ac:spMkLst>
        </pc:spChg>
        <pc:spChg chg="mod">
          <ac:chgData name="PROVENCHERE Sandrine" userId="ad1decff-d2ce-4d29-9d90-3591b80bc438" providerId="ADAL" clId="{E65BD9C0-CDAC-4338-A78A-D75BAE3A8EBD}" dt="2022-02-15T18:56:52.108" v="11011"/>
          <ac:spMkLst>
            <pc:docMk/>
            <pc:sldMk cId="3727696409" sldId="317"/>
            <ac:spMk id="147" creationId="{A6A6738F-F0E0-486F-9139-0830926B3AD9}"/>
          </ac:spMkLst>
        </pc:spChg>
        <pc:spChg chg="mod">
          <ac:chgData name="PROVENCHERE Sandrine" userId="ad1decff-d2ce-4d29-9d90-3591b80bc438" providerId="ADAL" clId="{E65BD9C0-CDAC-4338-A78A-D75BAE3A8EBD}" dt="2022-02-15T18:56:52.107" v="11008"/>
          <ac:spMkLst>
            <pc:docMk/>
            <pc:sldMk cId="3727696409" sldId="317"/>
            <ac:spMk id="148" creationId="{BBBED07B-9BF3-49F2-B15C-32DE30829C4F}"/>
          </ac:spMkLst>
        </pc:spChg>
        <pc:spChg chg="mod">
          <ac:chgData name="PROVENCHERE Sandrine" userId="ad1decff-d2ce-4d29-9d90-3591b80bc438" providerId="ADAL" clId="{E65BD9C0-CDAC-4338-A78A-D75BAE3A8EBD}" dt="2022-02-15T18:56:52.108" v="11010"/>
          <ac:spMkLst>
            <pc:docMk/>
            <pc:sldMk cId="3727696409" sldId="317"/>
            <ac:spMk id="150" creationId="{5FF19DBF-43B9-4F47-88D6-892CEA366C21}"/>
          </ac:spMkLst>
        </pc:spChg>
        <pc:spChg chg="mod">
          <ac:chgData name="PROVENCHERE Sandrine" userId="ad1decff-d2ce-4d29-9d90-3591b80bc438" providerId="ADAL" clId="{E65BD9C0-CDAC-4338-A78A-D75BAE3A8EBD}" dt="2022-02-15T18:56:52.108" v="11009"/>
          <ac:spMkLst>
            <pc:docMk/>
            <pc:sldMk cId="3727696409" sldId="317"/>
            <ac:spMk id="151" creationId="{D886DA7A-7E73-490B-A584-A4D185A304C9}"/>
          </ac:spMkLst>
        </pc:spChg>
        <pc:spChg chg="mod">
          <ac:chgData name="PROVENCHERE Sandrine" userId="ad1decff-d2ce-4d29-9d90-3591b80bc438" providerId="ADAL" clId="{E65BD9C0-CDAC-4338-A78A-D75BAE3A8EBD}" dt="2022-02-15T18:56:52.108" v="11013"/>
          <ac:spMkLst>
            <pc:docMk/>
            <pc:sldMk cId="3727696409" sldId="317"/>
            <ac:spMk id="155" creationId="{1E03B198-07C0-4269-95E4-B461A9DFB222}"/>
          </ac:spMkLst>
        </pc:spChg>
        <pc:spChg chg="mod">
          <ac:chgData name="PROVENCHERE Sandrine" userId="ad1decff-d2ce-4d29-9d90-3591b80bc438" providerId="ADAL" clId="{E65BD9C0-CDAC-4338-A78A-D75BAE3A8EBD}" dt="2022-02-15T18:56:52.108" v="11012"/>
          <ac:spMkLst>
            <pc:docMk/>
            <pc:sldMk cId="3727696409" sldId="317"/>
            <ac:spMk id="156" creationId="{ACAE95C9-3B62-45D6-B8CC-694C1F63E976}"/>
          </ac:spMkLst>
        </pc:spChg>
        <pc:spChg chg="mod">
          <ac:chgData name="PROVENCHERE Sandrine" userId="ad1decff-d2ce-4d29-9d90-3591b80bc438" providerId="ADAL" clId="{E65BD9C0-CDAC-4338-A78A-D75BAE3A8EBD}" dt="2022-02-15T18:57:47.421" v="11132"/>
          <ac:spMkLst>
            <pc:docMk/>
            <pc:sldMk cId="3727696409" sldId="317"/>
            <ac:spMk id="157" creationId="{6DDBECF7-8C5D-4120-9EF0-E8D640FB88FF}"/>
          </ac:spMkLst>
        </pc:spChg>
        <pc:spChg chg="mod">
          <ac:chgData name="PROVENCHERE Sandrine" userId="ad1decff-d2ce-4d29-9d90-3591b80bc438" providerId="ADAL" clId="{E65BD9C0-CDAC-4338-A78A-D75BAE3A8EBD}" dt="2022-02-15T18:57:47.421" v="11133"/>
          <ac:spMkLst>
            <pc:docMk/>
            <pc:sldMk cId="3727696409" sldId="317"/>
            <ac:spMk id="158" creationId="{B3473F50-670B-43ED-AF3C-72A60F9C0F21}"/>
          </ac:spMkLst>
        </pc:spChg>
        <pc:spChg chg="mod">
          <ac:chgData name="PROVENCHERE Sandrine" userId="ad1decff-d2ce-4d29-9d90-3591b80bc438" providerId="ADAL" clId="{E65BD9C0-CDAC-4338-A78A-D75BAE3A8EBD}" dt="2022-02-15T18:56:52.108" v="11023"/>
          <ac:spMkLst>
            <pc:docMk/>
            <pc:sldMk cId="3727696409" sldId="317"/>
            <ac:spMk id="160" creationId="{F294ACFE-BD76-4FF7-9600-C2A421E2AB21}"/>
          </ac:spMkLst>
        </pc:spChg>
        <pc:spChg chg="mod">
          <ac:chgData name="PROVENCHERE Sandrine" userId="ad1decff-d2ce-4d29-9d90-3591b80bc438" providerId="ADAL" clId="{E65BD9C0-CDAC-4338-A78A-D75BAE3A8EBD}" dt="2022-02-15T18:56:52.108" v="11021"/>
          <ac:spMkLst>
            <pc:docMk/>
            <pc:sldMk cId="3727696409" sldId="317"/>
            <ac:spMk id="161" creationId="{37A5F7BA-13A2-4C54-B62A-A9E8A6C14D45}"/>
          </ac:spMkLst>
        </pc:spChg>
        <pc:spChg chg="mod">
          <ac:chgData name="PROVENCHERE Sandrine" userId="ad1decff-d2ce-4d29-9d90-3591b80bc438" providerId="ADAL" clId="{E65BD9C0-CDAC-4338-A78A-D75BAE3A8EBD}" dt="2022-02-15T18:56:52.108" v="11020"/>
          <ac:spMkLst>
            <pc:docMk/>
            <pc:sldMk cId="3727696409" sldId="317"/>
            <ac:spMk id="162" creationId="{A5B439A7-DF17-413E-B1D8-A0ECCF4FE4CE}"/>
          </ac:spMkLst>
        </pc:spChg>
        <pc:spChg chg="mod">
          <ac:chgData name="PROVENCHERE Sandrine" userId="ad1decff-d2ce-4d29-9d90-3591b80bc438" providerId="ADAL" clId="{E65BD9C0-CDAC-4338-A78A-D75BAE3A8EBD}" dt="2022-02-15T18:56:52.108" v="11017"/>
          <ac:spMkLst>
            <pc:docMk/>
            <pc:sldMk cId="3727696409" sldId="317"/>
            <ac:spMk id="163" creationId="{718627F3-50D9-4D97-80C1-DD26C7D4B8C0}"/>
          </ac:spMkLst>
        </pc:spChg>
        <pc:spChg chg="mod">
          <ac:chgData name="PROVENCHERE Sandrine" userId="ad1decff-d2ce-4d29-9d90-3591b80bc438" providerId="ADAL" clId="{E65BD9C0-CDAC-4338-A78A-D75BAE3A8EBD}" dt="2022-02-15T18:56:52.108" v="11019"/>
          <ac:spMkLst>
            <pc:docMk/>
            <pc:sldMk cId="3727696409" sldId="317"/>
            <ac:spMk id="164" creationId="{AFD30AB5-9152-4985-8BFC-2F06F5ADED9A}"/>
          </ac:spMkLst>
        </pc:spChg>
        <pc:spChg chg="mod">
          <ac:chgData name="PROVENCHERE Sandrine" userId="ad1decff-d2ce-4d29-9d90-3591b80bc438" providerId="ADAL" clId="{E65BD9C0-CDAC-4338-A78A-D75BAE3A8EBD}" dt="2022-02-15T18:56:52.108" v="11022"/>
          <ac:spMkLst>
            <pc:docMk/>
            <pc:sldMk cId="3727696409" sldId="317"/>
            <ac:spMk id="168" creationId="{AAD17029-FDDA-448C-BF13-577BA6F74FD2}"/>
          </ac:spMkLst>
        </pc:spChg>
        <pc:spChg chg="mod ord">
          <ac:chgData name="PROVENCHERE Sandrine" userId="ad1decff-d2ce-4d29-9d90-3591b80bc438" providerId="ADAL" clId="{E65BD9C0-CDAC-4338-A78A-D75BAE3A8EBD}" dt="2022-02-15T18:56:52.108" v="11028"/>
          <ac:spMkLst>
            <pc:docMk/>
            <pc:sldMk cId="3727696409" sldId="317"/>
            <ac:spMk id="178" creationId="{F48AE032-8349-4D23-AA1B-0CB2DFBBA03D}"/>
          </ac:spMkLst>
        </pc:spChg>
        <pc:spChg chg="mod">
          <ac:chgData name="PROVENCHERE Sandrine" userId="ad1decff-d2ce-4d29-9d90-3591b80bc438" providerId="ADAL" clId="{E65BD9C0-CDAC-4338-A78A-D75BAE3A8EBD}" dt="2022-02-15T18:56:52.108" v="11024"/>
          <ac:spMkLst>
            <pc:docMk/>
            <pc:sldMk cId="3727696409" sldId="317"/>
            <ac:spMk id="218" creationId="{B22116CF-A9AF-423C-893C-FDD7D90CA7D3}"/>
          </ac:spMkLst>
        </pc:spChg>
        <pc:spChg chg="mod">
          <ac:chgData name="PROVENCHERE Sandrine" userId="ad1decff-d2ce-4d29-9d90-3591b80bc438" providerId="ADAL" clId="{E65BD9C0-CDAC-4338-A78A-D75BAE3A8EBD}" dt="2022-02-15T18:56:52.108" v="11018"/>
          <ac:spMkLst>
            <pc:docMk/>
            <pc:sldMk cId="3727696409" sldId="317"/>
            <ac:spMk id="223" creationId="{84A01702-8DB0-42AE-9C4B-F8980921E941}"/>
          </ac:spMkLst>
        </pc:spChg>
        <pc:spChg chg="mod ord">
          <ac:chgData name="PROVENCHERE Sandrine" userId="ad1decff-d2ce-4d29-9d90-3591b80bc438" providerId="ADAL" clId="{E65BD9C0-CDAC-4338-A78A-D75BAE3A8EBD}" dt="2022-02-15T18:56:52.108" v="11052"/>
          <ac:spMkLst>
            <pc:docMk/>
            <pc:sldMk cId="3727696409" sldId="317"/>
            <ac:spMk id="273" creationId="{ECCFAE51-245D-4D55-81AD-B97B1FD81D3E}"/>
          </ac:spMkLst>
        </pc:spChg>
        <pc:spChg chg="mod ord">
          <ac:chgData name="PROVENCHERE Sandrine" userId="ad1decff-d2ce-4d29-9d90-3591b80bc438" providerId="ADAL" clId="{E65BD9C0-CDAC-4338-A78A-D75BAE3A8EBD}" dt="2022-02-15T18:56:52.108" v="11054"/>
          <ac:spMkLst>
            <pc:docMk/>
            <pc:sldMk cId="3727696409" sldId="317"/>
            <ac:spMk id="274" creationId="{77D109C9-1C0C-4449-984E-E7DA0AA3F340}"/>
          </ac:spMkLst>
        </pc:spChg>
        <pc:spChg chg="mod ord">
          <ac:chgData name="PROVENCHERE Sandrine" userId="ad1decff-d2ce-4d29-9d90-3591b80bc438" providerId="ADAL" clId="{E65BD9C0-CDAC-4338-A78A-D75BAE3A8EBD}" dt="2022-02-15T18:56:52.091" v="10998"/>
          <ac:spMkLst>
            <pc:docMk/>
            <pc:sldMk cId="3727696409" sldId="317"/>
            <ac:spMk id="739" creationId="{33C78E60-2E06-449B-AF6E-274549A09B03}"/>
          </ac:spMkLst>
        </pc:spChg>
        <pc:spChg chg="mod ord">
          <ac:chgData name="PROVENCHERE Sandrine" userId="ad1decff-d2ce-4d29-9d90-3591b80bc438" providerId="ADAL" clId="{E65BD9C0-CDAC-4338-A78A-D75BAE3A8EBD}" dt="2022-02-15T18:56:52.091" v="11000"/>
          <ac:spMkLst>
            <pc:docMk/>
            <pc:sldMk cId="3727696409" sldId="317"/>
            <ac:spMk id="742" creationId="{ABC18BB4-82C9-4223-AAD8-AE0995D1758D}"/>
          </ac:spMkLst>
        </pc:spChg>
        <pc:spChg chg="mod ord">
          <ac:chgData name="PROVENCHERE Sandrine" userId="ad1decff-d2ce-4d29-9d90-3591b80bc438" providerId="ADAL" clId="{E65BD9C0-CDAC-4338-A78A-D75BAE3A8EBD}" dt="2022-02-15T18:56:52.091" v="10990"/>
          <ac:spMkLst>
            <pc:docMk/>
            <pc:sldMk cId="3727696409" sldId="317"/>
            <ac:spMk id="870" creationId="{C75659F7-9CB2-4887-8A0C-810962CD176B}"/>
          </ac:spMkLst>
        </pc:spChg>
        <pc:spChg chg="mod ord">
          <ac:chgData name="PROVENCHERE Sandrine" userId="ad1decff-d2ce-4d29-9d90-3591b80bc438" providerId="ADAL" clId="{E65BD9C0-CDAC-4338-A78A-D75BAE3A8EBD}" dt="2022-02-15T18:56:52.091" v="10988"/>
          <ac:spMkLst>
            <pc:docMk/>
            <pc:sldMk cId="3727696409" sldId="317"/>
            <ac:spMk id="871" creationId="{64210237-1B7A-4D9A-8DEF-E0D7D025F0C2}"/>
          </ac:spMkLst>
        </pc:spChg>
        <pc:graphicFrameChg chg="add del mod">
          <ac:chgData name="PROVENCHERE Sandrine" userId="ad1decff-d2ce-4d29-9d90-3591b80bc438" providerId="ADAL" clId="{E65BD9C0-CDAC-4338-A78A-D75BAE3A8EBD}" dt="2022-02-15T18:56:49.711" v="10836"/>
          <ac:graphicFrameMkLst>
            <pc:docMk/>
            <pc:sldMk cId="3727696409" sldId="317"/>
            <ac:graphicFrameMk id="57" creationId="{3DFC4C08-859E-4B18-8FB0-AA64FF910558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56:52.061" v="10977"/>
          <ac:graphicFrameMkLst>
            <pc:docMk/>
            <pc:sldMk cId="3727696409" sldId="317"/>
            <ac:graphicFrameMk id="59" creationId="{6AF34F0A-A408-42E8-B51D-0044AD2FAB07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5T18:56:52.107" v="11007"/>
          <ac:graphicFrameMkLst>
            <pc:docMk/>
            <pc:sldMk cId="3727696409" sldId="317"/>
            <ac:graphicFrameMk id="61" creationId="{C1D2F2E5-83F4-415D-9D49-2DA47088B065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57:47.681" v="11418"/>
          <ac:graphicFrameMkLst>
            <pc:docMk/>
            <pc:sldMk cId="3727696409" sldId="317"/>
            <ac:graphicFrameMk id="100" creationId="{8589F35F-0A8D-4311-B1FF-908064655556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56:52.108" v="11016"/>
          <ac:graphicFrameMkLst>
            <pc:docMk/>
            <pc:sldMk cId="3727696409" sldId="317"/>
            <ac:graphicFrameMk id="131" creationId="{9E7DBEBF-2C00-4621-960D-DA804596E300}"/>
          </ac:graphicFrameMkLst>
        </pc:graphicFrameChg>
        <pc:graphicFrameChg chg="del">
          <ac:chgData name="PROVENCHERE Sandrine" userId="ad1decff-d2ce-4d29-9d90-3591b80bc438" providerId="ADAL" clId="{E65BD9C0-CDAC-4338-A78A-D75BAE3A8EBD}" dt="2022-02-15T18:56:12.373" v="10691"/>
          <ac:graphicFrameMkLst>
            <pc:docMk/>
            <pc:sldMk cId="3727696409" sldId="317"/>
            <ac:graphicFrameMk id="142" creationId="{1070B301-6C72-45DD-9958-E8B8F5BEF4C8}"/>
          </ac:graphicFrameMkLst>
        </pc:graphicFrameChg>
        <pc:picChg chg="mod ord">
          <ac:chgData name="PROVENCHERE Sandrine" userId="ad1decff-d2ce-4d29-9d90-3591b80bc438" providerId="ADAL" clId="{E65BD9C0-CDAC-4338-A78A-D75BAE3A8EBD}" dt="2022-02-15T18:56:52.108" v="11042"/>
          <ac:picMkLst>
            <pc:docMk/>
            <pc:sldMk cId="3727696409" sldId="317"/>
            <ac:picMk id="102" creationId="{ADAB5243-799D-430E-968D-3F885EFE4B0F}"/>
          </ac:picMkLst>
        </pc:picChg>
        <pc:picChg chg="mod ord">
          <ac:chgData name="PROVENCHERE Sandrine" userId="ad1decff-d2ce-4d29-9d90-3591b80bc438" providerId="ADAL" clId="{E65BD9C0-CDAC-4338-A78A-D75BAE3A8EBD}" dt="2022-02-15T18:56:52.108" v="11044"/>
          <ac:picMkLst>
            <pc:docMk/>
            <pc:sldMk cId="3727696409" sldId="317"/>
            <ac:picMk id="103" creationId="{796BCA53-CE98-4823-A0B6-E73339B26374}"/>
          </ac:picMkLst>
        </pc:picChg>
        <pc:picChg chg="mod ord">
          <ac:chgData name="PROVENCHERE Sandrine" userId="ad1decff-d2ce-4d29-9d90-3591b80bc438" providerId="ADAL" clId="{E65BD9C0-CDAC-4338-A78A-D75BAE3A8EBD}" dt="2022-02-15T18:56:52.091" v="11004"/>
          <ac:picMkLst>
            <pc:docMk/>
            <pc:sldMk cId="3727696409" sldId="317"/>
            <ac:picMk id="149" creationId="{2BA8DE92-6738-4C04-AE1A-247FB8844C8B}"/>
          </ac:picMkLst>
        </pc:picChg>
        <pc:picChg chg="mod ord">
          <ac:chgData name="PROVENCHERE Sandrine" userId="ad1decff-d2ce-4d29-9d90-3591b80bc438" providerId="ADAL" clId="{E65BD9C0-CDAC-4338-A78A-D75BAE3A8EBD}" dt="2022-02-15T18:56:52.108" v="11030"/>
          <ac:picMkLst>
            <pc:docMk/>
            <pc:sldMk cId="3727696409" sldId="317"/>
            <ac:picMk id="183" creationId="{0961CF9C-5EEE-4B4E-A048-A7BF5CDF0EB1}"/>
          </ac:picMkLst>
        </pc:picChg>
        <pc:picChg chg="mod ord">
          <ac:chgData name="PROVENCHERE Sandrine" userId="ad1decff-d2ce-4d29-9d90-3591b80bc438" providerId="ADAL" clId="{E65BD9C0-CDAC-4338-A78A-D75BAE3A8EBD}" dt="2022-02-15T18:56:52.108" v="11032"/>
          <ac:picMkLst>
            <pc:docMk/>
            <pc:sldMk cId="3727696409" sldId="317"/>
            <ac:picMk id="184" creationId="{D03C2D69-7F94-4528-80D7-F007ADB06DA0}"/>
          </ac:picMkLst>
        </pc:picChg>
        <pc:picChg chg="mod ord">
          <ac:chgData name="PROVENCHERE Sandrine" userId="ad1decff-d2ce-4d29-9d90-3591b80bc438" providerId="ADAL" clId="{E65BD9C0-CDAC-4338-A78A-D75BAE3A8EBD}" dt="2022-02-15T18:56:52.108" v="11068"/>
          <ac:picMkLst>
            <pc:docMk/>
            <pc:sldMk cId="3727696409" sldId="317"/>
            <ac:picMk id="256" creationId="{798BDB5D-B0CC-4290-8C1E-4973622AF86A}"/>
          </ac:picMkLst>
        </pc:picChg>
        <pc:picChg chg="mod ord">
          <ac:chgData name="PROVENCHERE Sandrine" userId="ad1decff-d2ce-4d29-9d90-3591b80bc438" providerId="ADAL" clId="{E65BD9C0-CDAC-4338-A78A-D75BAE3A8EBD}" dt="2022-02-15T18:56:52.091" v="10986"/>
          <ac:picMkLst>
            <pc:docMk/>
            <pc:sldMk cId="3727696409" sldId="317"/>
            <ac:picMk id="869" creationId="{ACF24F4C-AA51-48A3-9BBB-F7448B2C06B3}"/>
          </ac:picMkLst>
        </pc:picChg>
        <pc:cxnChg chg="mod ord">
          <ac:chgData name="PROVENCHERE Sandrine" userId="ad1decff-d2ce-4d29-9d90-3591b80bc438" providerId="ADAL" clId="{E65BD9C0-CDAC-4338-A78A-D75BAE3A8EBD}" dt="2022-02-15T18:56:52.108" v="11046"/>
          <ac:cxnSpMkLst>
            <pc:docMk/>
            <pc:sldMk cId="3727696409" sldId="317"/>
            <ac:cxnSpMk id="16" creationId="{D61B3765-AA7C-46B6-9B34-B8DC253EF02B}"/>
          </ac:cxnSpMkLst>
        </pc:cxnChg>
        <pc:cxnChg chg="mod ord">
          <ac:chgData name="PROVENCHERE Sandrine" userId="ad1decff-d2ce-4d29-9d90-3591b80bc438" providerId="ADAL" clId="{E65BD9C0-CDAC-4338-A78A-D75BAE3A8EBD}" dt="2022-02-15T18:56:52.108" v="11040"/>
          <ac:cxnSpMkLst>
            <pc:docMk/>
            <pc:sldMk cId="3727696409" sldId="317"/>
            <ac:cxnSpMk id="101" creationId="{31F5732E-830B-4973-8237-9325C166A666}"/>
          </ac:cxnSpMkLst>
        </pc:cxnChg>
        <pc:cxnChg chg="mod ord">
          <ac:chgData name="PROVENCHERE Sandrine" userId="ad1decff-d2ce-4d29-9d90-3591b80bc438" providerId="ADAL" clId="{E65BD9C0-CDAC-4338-A78A-D75BAE3A8EBD}" dt="2022-02-15T18:56:52.108" v="11034"/>
          <ac:cxnSpMkLst>
            <pc:docMk/>
            <pc:sldMk cId="3727696409" sldId="317"/>
            <ac:cxnSpMk id="185" creationId="{8E070C81-7978-4428-802F-E547D5658686}"/>
          </ac:cxnSpMkLst>
        </pc:cxnChg>
        <pc:cxnChg chg="mod ord">
          <ac:chgData name="PROVENCHERE Sandrine" userId="ad1decff-d2ce-4d29-9d90-3591b80bc438" providerId="ADAL" clId="{E65BD9C0-CDAC-4338-A78A-D75BAE3A8EBD}" dt="2022-02-15T18:56:52.108" v="11048"/>
          <ac:cxnSpMkLst>
            <pc:docMk/>
            <pc:sldMk cId="3727696409" sldId="317"/>
            <ac:cxnSpMk id="271" creationId="{43995405-9F1C-413F-BAE8-4B292BEE38A3}"/>
          </ac:cxnSpMkLst>
        </pc:cxnChg>
        <pc:cxnChg chg="mod ord">
          <ac:chgData name="PROVENCHERE Sandrine" userId="ad1decff-d2ce-4d29-9d90-3591b80bc438" providerId="ADAL" clId="{E65BD9C0-CDAC-4338-A78A-D75BAE3A8EBD}" dt="2022-02-15T18:56:52.108" v="11050"/>
          <ac:cxnSpMkLst>
            <pc:docMk/>
            <pc:sldMk cId="3727696409" sldId="317"/>
            <ac:cxnSpMk id="272" creationId="{0B8BD528-A892-4230-812F-CE7BBF389505}"/>
          </ac:cxnSpMkLst>
        </pc:cxnChg>
      </pc:sldChg>
      <pc:sldChg chg="addSp delSp modSp add mod">
        <pc:chgData name="PROVENCHERE Sandrine" userId="ad1decff-d2ce-4d29-9d90-3591b80bc438" providerId="ADAL" clId="{E65BD9C0-CDAC-4338-A78A-D75BAE3A8EBD}" dt="2022-02-15T19:04:05.295" v="12374" actId="20577"/>
        <pc:sldMkLst>
          <pc:docMk/>
          <pc:sldMk cId="669169856" sldId="318"/>
        </pc:sldMkLst>
        <pc:spChg chg="mod ord">
          <ac:chgData name="PROVENCHERE Sandrine" userId="ad1decff-d2ce-4d29-9d90-3591b80bc438" providerId="ADAL" clId="{E65BD9C0-CDAC-4338-A78A-D75BAE3A8EBD}" dt="2022-02-15T18:58:52.758" v="12077"/>
          <ac:spMkLst>
            <pc:docMk/>
            <pc:sldMk cId="669169856" sldId="318"/>
            <ac:spMk id="2" creationId="{F9B1A035-2CF0-4F9D-9E1F-5C99E51D4AFC}"/>
          </ac:spMkLst>
        </pc:spChg>
        <pc:spChg chg="add del mod modVis">
          <ac:chgData name="PROVENCHERE Sandrine" userId="ad1decff-d2ce-4d29-9d90-3591b80bc438" providerId="ADAL" clId="{E65BD9C0-CDAC-4338-A78A-D75BAE3A8EBD}" dt="2022-02-15T18:57:47.663" v="11414"/>
          <ac:spMkLst>
            <pc:docMk/>
            <pc:sldMk cId="669169856" sldId="318"/>
            <ac:spMk id="3" creationId="{1F7C416B-96B4-474E-B886-6636E5E1F356}"/>
          </ac:spMkLst>
        </pc:spChg>
        <pc:spChg chg="add del mod modVis">
          <ac:chgData name="PROVENCHERE Sandrine" userId="ad1decff-d2ce-4d29-9d90-3591b80bc438" providerId="ADAL" clId="{E65BD9C0-CDAC-4338-A78A-D75BAE3A8EBD}" dt="2022-02-15T18:58:05.241" v="11567"/>
          <ac:spMkLst>
            <pc:docMk/>
            <pc:sldMk cId="669169856" sldId="318"/>
            <ac:spMk id="4" creationId="{D6D91674-4918-4FE0-93EB-485ED3372708}"/>
          </ac:spMkLst>
        </pc:spChg>
        <pc:spChg chg="add del mod modVis">
          <ac:chgData name="PROVENCHERE Sandrine" userId="ad1decff-d2ce-4d29-9d90-3591b80bc438" providerId="ADAL" clId="{E65BD9C0-CDAC-4338-A78A-D75BAE3A8EBD}" dt="2022-02-15T18:58:26.675" v="11714"/>
          <ac:spMkLst>
            <pc:docMk/>
            <pc:sldMk cId="669169856" sldId="318"/>
            <ac:spMk id="5" creationId="{2971C446-EB47-4E20-A354-400D625DB25A}"/>
          </ac:spMkLst>
        </pc:spChg>
        <pc:spChg chg="mod ord">
          <ac:chgData name="PROVENCHERE Sandrine" userId="ad1decff-d2ce-4d29-9d90-3591b80bc438" providerId="ADAL" clId="{E65BD9C0-CDAC-4338-A78A-D75BAE3A8EBD}" dt="2022-02-15T18:58:52.758" v="12079"/>
          <ac:spMkLst>
            <pc:docMk/>
            <pc:sldMk cId="669169856" sldId="318"/>
            <ac:spMk id="6" creationId="{FB489620-C6BF-4186-8E3F-F876FA63F9D0}"/>
          </ac:spMkLst>
        </pc:spChg>
        <pc:spChg chg="mod ord">
          <ac:chgData name="PROVENCHERE Sandrine" userId="ad1decff-d2ce-4d29-9d90-3591b80bc438" providerId="ADAL" clId="{E65BD9C0-CDAC-4338-A78A-D75BAE3A8EBD}" dt="2022-02-15T18:58:52.758" v="12081"/>
          <ac:spMkLst>
            <pc:docMk/>
            <pc:sldMk cId="669169856" sldId="318"/>
            <ac:spMk id="7" creationId="{6745335D-FC8B-48AC-8398-E11E408D4F76}"/>
          </ac:spMkLst>
        </pc:spChg>
        <pc:spChg chg="add del mod modVis">
          <ac:chgData name="PROVENCHERE Sandrine" userId="ad1decff-d2ce-4d29-9d90-3591b80bc438" providerId="ADAL" clId="{E65BD9C0-CDAC-4338-A78A-D75BAE3A8EBD}" dt="2022-02-15T18:58:46.308" v="11861"/>
          <ac:spMkLst>
            <pc:docMk/>
            <pc:sldMk cId="669169856" sldId="318"/>
            <ac:spMk id="8" creationId="{8E277265-97AB-49C3-B3E7-99BF076F0A5E}"/>
          </ac:spMkLst>
        </pc:spChg>
        <pc:spChg chg="add del mod modVis">
          <ac:chgData name="PROVENCHERE Sandrine" userId="ad1decff-d2ce-4d29-9d90-3591b80bc438" providerId="ADAL" clId="{E65BD9C0-CDAC-4338-A78A-D75BAE3A8EBD}" dt="2022-02-15T18:58:49.191" v="12008"/>
          <ac:spMkLst>
            <pc:docMk/>
            <pc:sldMk cId="669169856" sldId="318"/>
            <ac:spMk id="9" creationId="{E50D909C-23C4-42F3-BCE3-290FB1819274}"/>
          </ac:spMkLst>
        </pc:spChg>
        <pc:spChg chg="add del mod modVis">
          <ac:chgData name="PROVENCHERE Sandrine" userId="ad1decff-d2ce-4d29-9d90-3591b80bc438" providerId="ADAL" clId="{E65BD9C0-CDAC-4338-A78A-D75BAE3A8EBD}" dt="2022-02-15T18:58:52.773" v="12155"/>
          <ac:spMkLst>
            <pc:docMk/>
            <pc:sldMk cId="669169856" sldId="318"/>
            <ac:spMk id="10" creationId="{9D9DCF91-5A1E-4C8F-A2E9-7D20FD64B732}"/>
          </ac:spMkLst>
        </pc:spChg>
        <pc:spChg chg="add mod">
          <ac:chgData name="PROVENCHERE Sandrine" userId="ad1decff-d2ce-4d29-9d90-3591b80bc438" providerId="ADAL" clId="{E65BD9C0-CDAC-4338-A78A-D75BAE3A8EBD}" dt="2022-02-15T19:02:41.924" v="12286" actId="1076"/>
          <ac:spMkLst>
            <pc:docMk/>
            <pc:sldMk cId="669169856" sldId="318"/>
            <ac:spMk id="11" creationId="{928652E2-F800-40F7-B057-362097891251}"/>
          </ac:spMkLst>
        </pc:spChg>
        <pc:spChg chg="mod ord">
          <ac:chgData name="PROVENCHERE Sandrine" userId="ad1decff-d2ce-4d29-9d90-3591b80bc438" providerId="ADAL" clId="{E65BD9C0-CDAC-4338-A78A-D75BAE3A8EBD}" dt="2022-02-15T18:58:52.773" v="12151"/>
          <ac:spMkLst>
            <pc:docMk/>
            <pc:sldMk cId="669169856" sldId="318"/>
            <ac:spMk id="31" creationId="{606CF62E-C208-4D8C-9BC1-C3A0985240AB}"/>
          </ac:spMkLst>
        </pc:spChg>
        <pc:spChg chg="mod ord">
          <ac:chgData name="PROVENCHERE Sandrine" userId="ad1decff-d2ce-4d29-9d90-3591b80bc438" providerId="ADAL" clId="{E65BD9C0-CDAC-4338-A78A-D75BAE3A8EBD}" dt="2022-02-15T19:04:05.295" v="12374" actId="20577"/>
          <ac:spMkLst>
            <pc:docMk/>
            <pc:sldMk cId="669169856" sldId="318"/>
            <ac:spMk id="71" creationId="{EC6758B0-B622-4FC5-A398-E5DF4655F1C2}"/>
          </ac:spMkLst>
        </pc:spChg>
        <pc:spChg chg="mod ord">
          <ac:chgData name="PROVENCHERE Sandrine" userId="ad1decff-d2ce-4d29-9d90-3591b80bc438" providerId="ADAL" clId="{E65BD9C0-CDAC-4338-A78A-D75BAE3A8EBD}" dt="2022-02-15T18:58:52.758" v="12069"/>
          <ac:spMkLst>
            <pc:docMk/>
            <pc:sldMk cId="669169856" sldId="318"/>
            <ac:spMk id="95" creationId="{95EFB8ED-8525-44D3-81E0-0D09718A157A}"/>
          </ac:spMkLst>
        </pc:spChg>
        <pc:spChg chg="mod ord">
          <ac:chgData name="PROVENCHERE Sandrine" userId="ad1decff-d2ce-4d29-9d90-3591b80bc438" providerId="ADAL" clId="{E65BD9C0-CDAC-4338-A78A-D75BAE3A8EBD}" dt="2022-02-15T18:58:52.773" v="12121"/>
          <ac:spMkLst>
            <pc:docMk/>
            <pc:sldMk cId="669169856" sldId="318"/>
            <ac:spMk id="98" creationId="{F0937B19-5489-4B9E-A69B-119AB1EA458D}"/>
          </ac:spMkLst>
        </pc:spChg>
        <pc:spChg chg="mod ord">
          <ac:chgData name="PROVENCHERE Sandrine" userId="ad1decff-d2ce-4d29-9d90-3591b80bc438" providerId="ADAL" clId="{E65BD9C0-CDAC-4338-A78A-D75BAE3A8EBD}" dt="2022-02-15T18:58:52.773" v="12123"/>
          <ac:spMkLst>
            <pc:docMk/>
            <pc:sldMk cId="669169856" sldId="318"/>
            <ac:spMk id="99" creationId="{49164E85-8617-4DC4-BD6B-C8C57128CE6D}"/>
          </ac:spMkLst>
        </pc:spChg>
        <pc:spChg chg="mod">
          <ac:chgData name="PROVENCHERE Sandrine" userId="ad1decff-d2ce-4d29-9d90-3591b80bc438" providerId="ADAL" clId="{E65BD9C0-CDAC-4338-A78A-D75BAE3A8EBD}" dt="2022-02-15T18:58:52.758" v="12110"/>
          <ac:spMkLst>
            <pc:docMk/>
            <pc:sldMk cId="669169856" sldId="318"/>
            <ac:spMk id="123" creationId="{9C13A0BF-8AAB-40F5-B616-5172541DCF5A}"/>
          </ac:spMkLst>
        </pc:spChg>
        <pc:spChg chg="mod">
          <ac:chgData name="PROVENCHERE Sandrine" userId="ad1decff-d2ce-4d29-9d90-3591b80bc438" providerId="ADAL" clId="{E65BD9C0-CDAC-4338-A78A-D75BAE3A8EBD}" dt="2022-02-15T18:58:52.758" v="12111"/>
          <ac:spMkLst>
            <pc:docMk/>
            <pc:sldMk cId="669169856" sldId="318"/>
            <ac:spMk id="125" creationId="{B5599E59-CBDC-41CE-84C4-A45705673291}"/>
          </ac:spMkLst>
        </pc:spChg>
        <pc:spChg chg="mod ord">
          <ac:chgData name="PROVENCHERE Sandrine" userId="ad1decff-d2ce-4d29-9d90-3591b80bc438" providerId="ADAL" clId="{E65BD9C0-CDAC-4338-A78A-D75BAE3A8EBD}" dt="2022-02-15T18:58:52.773" v="12143"/>
          <ac:spMkLst>
            <pc:docMk/>
            <pc:sldMk cId="669169856" sldId="318"/>
            <ac:spMk id="132" creationId="{668BAAB6-FE9E-4B39-B5A2-66A5322C6850}"/>
          </ac:spMkLst>
        </pc:spChg>
        <pc:spChg chg="mod ord">
          <ac:chgData name="PROVENCHERE Sandrine" userId="ad1decff-d2ce-4d29-9d90-3591b80bc438" providerId="ADAL" clId="{E65BD9C0-CDAC-4338-A78A-D75BAE3A8EBD}" dt="2022-02-15T18:58:52.758" v="12091"/>
          <ac:spMkLst>
            <pc:docMk/>
            <pc:sldMk cId="669169856" sldId="318"/>
            <ac:spMk id="133" creationId="{4831262B-A26E-47A5-A286-710C146AE50D}"/>
          </ac:spMkLst>
        </pc:spChg>
        <pc:spChg chg="mod ord">
          <ac:chgData name="PROVENCHERE Sandrine" userId="ad1decff-d2ce-4d29-9d90-3591b80bc438" providerId="ADAL" clId="{E65BD9C0-CDAC-4338-A78A-D75BAE3A8EBD}" dt="2022-02-15T18:58:52.773" v="12145"/>
          <ac:spMkLst>
            <pc:docMk/>
            <pc:sldMk cId="669169856" sldId="318"/>
            <ac:spMk id="134" creationId="{A644C5C1-3577-4C2D-941C-1D2455CA5690}"/>
          </ac:spMkLst>
        </pc:spChg>
        <pc:spChg chg="mod ord">
          <ac:chgData name="PROVENCHERE Sandrine" userId="ad1decff-d2ce-4d29-9d90-3591b80bc438" providerId="ADAL" clId="{E65BD9C0-CDAC-4338-A78A-D75BAE3A8EBD}" dt="2022-02-15T18:58:52.773" v="12147"/>
          <ac:spMkLst>
            <pc:docMk/>
            <pc:sldMk cId="669169856" sldId="318"/>
            <ac:spMk id="135" creationId="{9D0EB6F1-497D-4C6F-8BDD-8BDE253AD6DF}"/>
          </ac:spMkLst>
        </pc:spChg>
        <pc:spChg chg="mod ord">
          <ac:chgData name="PROVENCHERE Sandrine" userId="ad1decff-d2ce-4d29-9d90-3591b80bc438" providerId="ADAL" clId="{E65BD9C0-CDAC-4338-A78A-D75BAE3A8EBD}" dt="2022-02-15T18:58:52.773" v="12149"/>
          <ac:spMkLst>
            <pc:docMk/>
            <pc:sldMk cId="669169856" sldId="318"/>
            <ac:spMk id="136" creationId="{8BC96117-417D-4BE9-B527-05498D99974F}"/>
          </ac:spMkLst>
        </pc:spChg>
        <pc:spChg chg="mod ord">
          <ac:chgData name="PROVENCHERE Sandrine" userId="ad1decff-d2ce-4d29-9d90-3591b80bc438" providerId="ADAL" clId="{E65BD9C0-CDAC-4338-A78A-D75BAE3A8EBD}" dt="2022-02-15T18:58:52.758" v="12087"/>
          <ac:spMkLst>
            <pc:docMk/>
            <pc:sldMk cId="669169856" sldId="318"/>
            <ac:spMk id="145" creationId="{FCA74808-F434-4FB1-BE5E-2F031EAA0FDE}"/>
          </ac:spMkLst>
        </pc:spChg>
        <pc:spChg chg="mod">
          <ac:chgData name="PROVENCHERE Sandrine" userId="ad1decff-d2ce-4d29-9d90-3591b80bc438" providerId="ADAL" clId="{E65BD9C0-CDAC-4338-A78A-D75BAE3A8EBD}" dt="2022-02-15T18:58:52.758" v="12095"/>
          <ac:spMkLst>
            <pc:docMk/>
            <pc:sldMk cId="669169856" sldId="318"/>
            <ac:spMk id="147" creationId="{A6A6738F-F0E0-486F-9139-0830926B3AD9}"/>
          </ac:spMkLst>
        </pc:spChg>
        <pc:spChg chg="mod">
          <ac:chgData name="PROVENCHERE Sandrine" userId="ad1decff-d2ce-4d29-9d90-3591b80bc438" providerId="ADAL" clId="{E65BD9C0-CDAC-4338-A78A-D75BAE3A8EBD}" dt="2022-02-15T18:58:52.758" v="12094"/>
          <ac:spMkLst>
            <pc:docMk/>
            <pc:sldMk cId="669169856" sldId="318"/>
            <ac:spMk id="148" creationId="{BBBED07B-9BF3-49F2-B15C-32DE30829C4F}"/>
          </ac:spMkLst>
        </pc:spChg>
        <pc:spChg chg="mod">
          <ac:chgData name="PROVENCHERE Sandrine" userId="ad1decff-d2ce-4d29-9d90-3591b80bc438" providerId="ADAL" clId="{E65BD9C0-CDAC-4338-A78A-D75BAE3A8EBD}" dt="2022-02-15T18:58:52.758" v="12096"/>
          <ac:spMkLst>
            <pc:docMk/>
            <pc:sldMk cId="669169856" sldId="318"/>
            <ac:spMk id="150" creationId="{5FF19DBF-43B9-4F47-88D6-892CEA366C21}"/>
          </ac:spMkLst>
        </pc:spChg>
        <pc:spChg chg="mod">
          <ac:chgData name="PROVENCHERE Sandrine" userId="ad1decff-d2ce-4d29-9d90-3591b80bc438" providerId="ADAL" clId="{E65BD9C0-CDAC-4338-A78A-D75BAE3A8EBD}" dt="2022-02-15T18:58:52.758" v="12093"/>
          <ac:spMkLst>
            <pc:docMk/>
            <pc:sldMk cId="669169856" sldId="318"/>
            <ac:spMk id="151" creationId="{D886DA7A-7E73-490B-A584-A4D185A304C9}"/>
          </ac:spMkLst>
        </pc:spChg>
        <pc:spChg chg="mod">
          <ac:chgData name="PROVENCHERE Sandrine" userId="ad1decff-d2ce-4d29-9d90-3591b80bc438" providerId="ADAL" clId="{E65BD9C0-CDAC-4338-A78A-D75BAE3A8EBD}" dt="2022-02-15T18:58:52.758" v="12098"/>
          <ac:spMkLst>
            <pc:docMk/>
            <pc:sldMk cId="669169856" sldId="318"/>
            <ac:spMk id="155" creationId="{1E03B198-07C0-4269-95E4-B461A9DFB222}"/>
          </ac:spMkLst>
        </pc:spChg>
        <pc:spChg chg="mod">
          <ac:chgData name="PROVENCHERE Sandrine" userId="ad1decff-d2ce-4d29-9d90-3591b80bc438" providerId="ADAL" clId="{E65BD9C0-CDAC-4338-A78A-D75BAE3A8EBD}" dt="2022-02-15T18:58:52.758" v="12097"/>
          <ac:spMkLst>
            <pc:docMk/>
            <pc:sldMk cId="669169856" sldId="318"/>
            <ac:spMk id="156" creationId="{ACAE95C9-3B62-45D6-B8CC-694C1F63E976}"/>
          </ac:spMkLst>
        </pc:spChg>
        <pc:spChg chg="mod">
          <ac:chgData name="PROVENCHERE Sandrine" userId="ad1decff-d2ce-4d29-9d90-3591b80bc438" providerId="ADAL" clId="{E65BD9C0-CDAC-4338-A78A-D75BAE3A8EBD}" dt="2022-02-15T18:58:52.758" v="12099"/>
          <ac:spMkLst>
            <pc:docMk/>
            <pc:sldMk cId="669169856" sldId="318"/>
            <ac:spMk id="157" creationId="{6DDBECF7-8C5D-4120-9EF0-E8D640FB88FF}"/>
          </ac:spMkLst>
        </pc:spChg>
        <pc:spChg chg="mod">
          <ac:chgData name="PROVENCHERE Sandrine" userId="ad1decff-d2ce-4d29-9d90-3591b80bc438" providerId="ADAL" clId="{E65BD9C0-CDAC-4338-A78A-D75BAE3A8EBD}" dt="2022-02-15T18:58:52.758" v="12100"/>
          <ac:spMkLst>
            <pc:docMk/>
            <pc:sldMk cId="669169856" sldId="318"/>
            <ac:spMk id="158" creationId="{B3473F50-670B-43ED-AF3C-72A60F9C0F21}"/>
          </ac:spMkLst>
        </pc:spChg>
        <pc:spChg chg="mod">
          <ac:chgData name="PROVENCHERE Sandrine" userId="ad1decff-d2ce-4d29-9d90-3591b80bc438" providerId="ADAL" clId="{E65BD9C0-CDAC-4338-A78A-D75BAE3A8EBD}" dt="2022-02-15T18:58:52.758" v="12107"/>
          <ac:spMkLst>
            <pc:docMk/>
            <pc:sldMk cId="669169856" sldId="318"/>
            <ac:spMk id="160" creationId="{F294ACFE-BD76-4FF7-9600-C2A421E2AB21}"/>
          </ac:spMkLst>
        </pc:spChg>
        <pc:spChg chg="mod">
          <ac:chgData name="PROVENCHERE Sandrine" userId="ad1decff-d2ce-4d29-9d90-3591b80bc438" providerId="ADAL" clId="{E65BD9C0-CDAC-4338-A78A-D75BAE3A8EBD}" dt="2022-02-15T18:58:52.758" v="12104"/>
          <ac:spMkLst>
            <pc:docMk/>
            <pc:sldMk cId="669169856" sldId="318"/>
            <ac:spMk id="161" creationId="{37A5F7BA-13A2-4C54-B62A-A9E8A6C14D45}"/>
          </ac:spMkLst>
        </pc:spChg>
        <pc:spChg chg="mod">
          <ac:chgData name="PROVENCHERE Sandrine" userId="ad1decff-d2ce-4d29-9d90-3591b80bc438" providerId="ADAL" clId="{E65BD9C0-CDAC-4338-A78A-D75BAE3A8EBD}" dt="2022-02-15T18:58:52.758" v="12103"/>
          <ac:spMkLst>
            <pc:docMk/>
            <pc:sldMk cId="669169856" sldId="318"/>
            <ac:spMk id="162" creationId="{A5B439A7-DF17-413E-B1D8-A0ECCF4FE4CE}"/>
          </ac:spMkLst>
        </pc:spChg>
        <pc:spChg chg="mod">
          <ac:chgData name="PROVENCHERE Sandrine" userId="ad1decff-d2ce-4d29-9d90-3591b80bc438" providerId="ADAL" clId="{E65BD9C0-CDAC-4338-A78A-D75BAE3A8EBD}" dt="2022-02-15T18:58:52.758" v="12105"/>
          <ac:spMkLst>
            <pc:docMk/>
            <pc:sldMk cId="669169856" sldId="318"/>
            <ac:spMk id="163" creationId="{718627F3-50D9-4D97-80C1-DD26C7D4B8C0}"/>
          </ac:spMkLst>
        </pc:spChg>
        <pc:spChg chg="mod">
          <ac:chgData name="PROVENCHERE Sandrine" userId="ad1decff-d2ce-4d29-9d90-3591b80bc438" providerId="ADAL" clId="{E65BD9C0-CDAC-4338-A78A-D75BAE3A8EBD}" dt="2022-02-15T18:58:52.758" v="12106"/>
          <ac:spMkLst>
            <pc:docMk/>
            <pc:sldMk cId="669169856" sldId="318"/>
            <ac:spMk id="164" creationId="{AFD30AB5-9152-4985-8BFC-2F06F5ADED9A}"/>
          </ac:spMkLst>
        </pc:spChg>
        <pc:spChg chg="mod">
          <ac:chgData name="PROVENCHERE Sandrine" userId="ad1decff-d2ce-4d29-9d90-3591b80bc438" providerId="ADAL" clId="{E65BD9C0-CDAC-4338-A78A-D75BAE3A8EBD}" dt="2022-02-15T18:58:52.758" v="12109"/>
          <ac:spMkLst>
            <pc:docMk/>
            <pc:sldMk cId="669169856" sldId="318"/>
            <ac:spMk id="168" creationId="{AAD17029-FDDA-448C-BF13-577BA6F74FD2}"/>
          </ac:spMkLst>
        </pc:spChg>
        <pc:spChg chg="mod ord">
          <ac:chgData name="PROVENCHERE Sandrine" userId="ad1decff-d2ce-4d29-9d90-3591b80bc438" providerId="ADAL" clId="{E65BD9C0-CDAC-4338-A78A-D75BAE3A8EBD}" dt="2022-02-15T18:58:52.758" v="12113"/>
          <ac:spMkLst>
            <pc:docMk/>
            <pc:sldMk cId="669169856" sldId="318"/>
            <ac:spMk id="178" creationId="{F48AE032-8349-4D23-AA1B-0CB2DFBBA03D}"/>
          </ac:spMkLst>
        </pc:spChg>
        <pc:spChg chg="mod">
          <ac:chgData name="PROVENCHERE Sandrine" userId="ad1decff-d2ce-4d29-9d90-3591b80bc438" providerId="ADAL" clId="{E65BD9C0-CDAC-4338-A78A-D75BAE3A8EBD}" dt="2022-02-15T18:58:52.758" v="12108"/>
          <ac:spMkLst>
            <pc:docMk/>
            <pc:sldMk cId="669169856" sldId="318"/>
            <ac:spMk id="218" creationId="{B22116CF-A9AF-423C-893C-FDD7D90CA7D3}"/>
          </ac:spMkLst>
        </pc:spChg>
        <pc:spChg chg="mod">
          <ac:chgData name="PROVENCHERE Sandrine" userId="ad1decff-d2ce-4d29-9d90-3591b80bc438" providerId="ADAL" clId="{E65BD9C0-CDAC-4338-A78A-D75BAE3A8EBD}" dt="2022-02-15T18:58:52.758" v="12102"/>
          <ac:spMkLst>
            <pc:docMk/>
            <pc:sldMk cId="669169856" sldId="318"/>
            <ac:spMk id="223" creationId="{84A01702-8DB0-42AE-9C4B-F8980921E941}"/>
          </ac:spMkLst>
        </pc:spChg>
        <pc:spChg chg="mod ord">
          <ac:chgData name="PROVENCHERE Sandrine" userId="ad1decff-d2ce-4d29-9d90-3591b80bc438" providerId="ADAL" clId="{E65BD9C0-CDAC-4338-A78A-D75BAE3A8EBD}" dt="2022-02-15T18:58:52.773" v="12137"/>
          <ac:spMkLst>
            <pc:docMk/>
            <pc:sldMk cId="669169856" sldId="318"/>
            <ac:spMk id="273" creationId="{ECCFAE51-245D-4D55-81AD-B97B1FD81D3E}"/>
          </ac:spMkLst>
        </pc:spChg>
        <pc:spChg chg="mod ord">
          <ac:chgData name="PROVENCHERE Sandrine" userId="ad1decff-d2ce-4d29-9d90-3591b80bc438" providerId="ADAL" clId="{E65BD9C0-CDAC-4338-A78A-D75BAE3A8EBD}" dt="2022-02-15T18:58:52.773" v="12139"/>
          <ac:spMkLst>
            <pc:docMk/>
            <pc:sldMk cId="669169856" sldId="318"/>
            <ac:spMk id="274" creationId="{77D109C9-1C0C-4449-984E-E7DA0AA3F340}"/>
          </ac:spMkLst>
        </pc:spChg>
        <pc:spChg chg="mod ord">
          <ac:chgData name="PROVENCHERE Sandrine" userId="ad1decff-d2ce-4d29-9d90-3591b80bc438" providerId="ADAL" clId="{E65BD9C0-CDAC-4338-A78A-D75BAE3A8EBD}" dt="2022-02-15T19:00:08.308" v="12165" actId="20577"/>
          <ac:spMkLst>
            <pc:docMk/>
            <pc:sldMk cId="669169856" sldId="318"/>
            <ac:spMk id="739" creationId="{33C78E60-2E06-449B-AF6E-274549A09B03}"/>
          </ac:spMkLst>
        </pc:spChg>
        <pc:spChg chg="mod ord">
          <ac:chgData name="PROVENCHERE Sandrine" userId="ad1decff-d2ce-4d29-9d90-3591b80bc438" providerId="ADAL" clId="{E65BD9C0-CDAC-4338-A78A-D75BAE3A8EBD}" dt="2022-02-15T18:58:52.758" v="12085"/>
          <ac:spMkLst>
            <pc:docMk/>
            <pc:sldMk cId="669169856" sldId="318"/>
            <ac:spMk id="742" creationId="{ABC18BB4-82C9-4223-AAD8-AE0995D1758D}"/>
          </ac:spMkLst>
        </pc:spChg>
        <pc:spChg chg="mod ord">
          <ac:chgData name="PROVENCHERE Sandrine" userId="ad1decff-d2ce-4d29-9d90-3591b80bc438" providerId="ADAL" clId="{E65BD9C0-CDAC-4338-A78A-D75BAE3A8EBD}" dt="2022-02-15T18:59:53.667" v="12162" actId="1076"/>
          <ac:spMkLst>
            <pc:docMk/>
            <pc:sldMk cId="669169856" sldId="318"/>
            <ac:spMk id="870" creationId="{C75659F7-9CB2-4887-8A0C-810962CD176B}"/>
          </ac:spMkLst>
        </pc:spChg>
        <pc:spChg chg="mod ord">
          <ac:chgData name="PROVENCHERE Sandrine" userId="ad1decff-d2ce-4d29-9d90-3591b80bc438" providerId="ADAL" clId="{E65BD9C0-CDAC-4338-A78A-D75BAE3A8EBD}" dt="2022-02-15T18:58:52.758" v="12073"/>
          <ac:spMkLst>
            <pc:docMk/>
            <pc:sldMk cId="669169856" sldId="318"/>
            <ac:spMk id="871" creationId="{64210237-1B7A-4D9A-8DEF-E0D7D025F0C2}"/>
          </ac:spMkLst>
        </pc:spChg>
        <pc:graphicFrameChg chg="add del mod">
          <ac:chgData name="PROVENCHERE Sandrine" userId="ad1decff-d2ce-4d29-9d90-3591b80bc438" providerId="ADAL" clId="{E65BD9C0-CDAC-4338-A78A-D75BAE3A8EBD}" dt="2022-02-15T18:58:05.190" v="11474"/>
          <ac:graphicFrameMkLst>
            <pc:docMk/>
            <pc:sldMk cId="669169856" sldId="318"/>
            <ac:graphicFrameMk id="57" creationId="{96097EFD-D2DE-4FDA-9E60-E088943B18AA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58:26.624" v="11621"/>
          <ac:graphicFrameMkLst>
            <pc:docMk/>
            <pc:sldMk cId="669169856" sldId="318"/>
            <ac:graphicFrameMk id="59" creationId="{512BA35D-E43B-451B-931E-E9A74225719C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58:52.758" v="12092"/>
          <ac:graphicFrameMkLst>
            <pc:docMk/>
            <pc:sldMk cId="669169856" sldId="318"/>
            <ac:graphicFrameMk id="61" creationId="{C1D2F2E5-83F4-415D-9D49-2DA47088B065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58:46.256" v="11768"/>
          <ac:graphicFrameMkLst>
            <pc:docMk/>
            <pc:sldMk cId="669169856" sldId="318"/>
            <ac:graphicFrameMk id="62" creationId="{F207AE59-9540-4F16-9C70-314F9E15952B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58:49.139" v="11915"/>
          <ac:graphicFrameMkLst>
            <pc:docMk/>
            <pc:sldMk cId="669169856" sldId="318"/>
            <ac:graphicFrameMk id="63" creationId="{C7365431-0C5C-4AA7-AF6E-D9FADFE58953}"/>
          </ac:graphicFrameMkLst>
        </pc:graphicFrameChg>
        <pc:graphicFrameChg chg="add del mod">
          <ac:chgData name="PROVENCHERE Sandrine" userId="ad1decff-d2ce-4d29-9d90-3591b80bc438" providerId="ADAL" clId="{E65BD9C0-CDAC-4338-A78A-D75BAE3A8EBD}" dt="2022-02-15T18:58:52.725" v="12062"/>
          <ac:graphicFrameMkLst>
            <pc:docMk/>
            <pc:sldMk cId="669169856" sldId="318"/>
            <ac:graphicFrameMk id="65" creationId="{766AE820-6386-4982-B77A-2484693E523B}"/>
          </ac:graphicFrameMkLst>
        </pc:graphicFrameChg>
        <pc:graphicFrameChg chg="add mod">
          <ac:chgData name="PROVENCHERE Sandrine" userId="ad1decff-d2ce-4d29-9d90-3591b80bc438" providerId="ADAL" clId="{E65BD9C0-CDAC-4338-A78A-D75BAE3A8EBD}" dt="2022-02-15T18:58:52.758" v="12101"/>
          <ac:graphicFrameMkLst>
            <pc:docMk/>
            <pc:sldMk cId="669169856" sldId="318"/>
            <ac:graphicFrameMk id="67" creationId="{F4D9F739-3893-4508-9D2A-A41A91D647EE}"/>
          </ac:graphicFrameMkLst>
        </pc:graphicFrameChg>
        <pc:graphicFrameChg chg="mod">
          <ac:chgData name="PROVENCHERE Sandrine" userId="ad1decff-d2ce-4d29-9d90-3591b80bc438" providerId="ADAL" clId="{E65BD9C0-CDAC-4338-A78A-D75BAE3A8EBD}" dt="2022-02-15T18:58:52.782" v="12157"/>
          <ac:graphicFrameMkLst>
            <pc:docMk/>
            <pc:sldMk cId="669169856" sldId="318"/>
            <ac:graphicFrameMk id="100" creationId="{8589F35F-0A8D-4311-B1FF-908064655556}"/>
          </ac:graphicFrameMkLst>
        </pc:graphicFrameChg>
        <pc:graphicFrameChg chg="del">
          <ac:chgData name="PROVENCHERE Sandrine" userId="ad1decff-d2ce-4d29-9d90-3591b80bc438" providerId="ADAL" clId="{E65BD9C0-CDAC-4338-A78A-D75BAE3A8EBD}" dt="2022-02-15T18:57:47.620" v="11321"/>
          <ac:graphicFrameMkLst>
            <pc:docMk/>
            <pc:sldMk cId="669169856" sldId="318"/>
            <ac:graphicFrameMk id="131" creationId="{9E7DBEBF-2C00-4621-960D-DA804596E300}"/>
          </ac:graphicFrameMkLst>
        </pc:graphicFrameChg>
        <pc:picChg chg="add mod">
          <ac:chgData name="PROVENCHERE Sandrine" userId="ad1decff-d2ce-4d29-9d90-3591b80bc438" providerId="ADAL" clId="{E65BD9C0-CDAC-4338-A78A-D75BAE3A8EBD}" dt="2022-02-15T19:00:03.924" v="12163" actId="1076"/>
          <ac:picMkLst>
            <pc:docMk/>
            <pc:sldMk cId="669169856" sldId="318"/>
            <ac:picMk id="68" creationId="{AB529B68-BFC3-4AF5-B7BE-00B950398376}"/>
          </ac:picMkLst>
        </pc:picChg>
        <pc:picChg chg="mod ord">
          <ac:chgData name="PROVENCHERE Sandrine" userId="ad1decff-d2ce-4d29-9d90-3591b80bc438" providerId="ADAL" clId="{E65BD9C0-CDAC-4338-A78A-D75BAE3A8EBD}" dt="2022-02-15T18:58:52.773" v="12127"/>
          <ac:picMkLst>
            <pc:docMk/>
            <pc:sldMk cId="669169856" sldId="318"/>
            <ac:picMk id="102" creationId="{ADAB5243-799D-430E-968D-3F885EFE4B0F}"/>
          </ac:picMkLst>
        </pc:picChg>
        <pc:picChg chg="mod ord">
          <ac:chgData name="PROVENCHERE Sandrine" userId="ad1decff-d2ce-4d29-9d90-3591b80bc438" providerId="ADAL" clId="{E65BD9C0-CDAC-4338-A78A-D75BAE3A8EBD}" dt="2022-02-15T18:58:52.773" v="12129"/>
          <ac:picMkLst>
            <pc:docMk/>
            <pc:sldMk cId="669169856" sldId="318"/>
            <ac:picMk id="103" creationId="{796BCA53-CE98-4823-A0B6-E73339B26374}"/>
          </ac:picMkLst>
        </pc:picChg>
        <pc:picChg chg="mod ord">
          <ac:chgData name="PROVENCHERE Sandrine" userId="ad1decff-d2ce-4d29-9d90-3591b80bc438" providerId="ADAL" clId="{E65BD9C0-CDAC-4338-A78A-D75BAE3A8EBD}" dt="2022-02-15T18:58:52.758" v="12089"/>
          <ac:picMkLst>
            <pc:docMk/>
            <pc:sldMk cId="669169856" sldId="318"/>
            <ac:picMk id="149" creationId="{2BA8DE92-6738-4C04-AE1A-247FB8844C8B}"/>
          </ac:picMkLst>
        </pc:picChg>
        <pc:picChg chg="mod ord">
          <ac:chgData name="PROVENCHERE Sandrine" userId="ad1decff-d2ce-4d29-9d90-3591b80bc438" providerId="ADAL" clId="{E65BD9C0-CDAC-4338-A78A-D75BAE3A8EBD}" dt="2022-02-15T18:58:52.758" v="12115"/>
          <ac:picMkLst>
            <pc:docMk/>
            <pc:sldMk cId="669169856" sldId="318"/>
            <ac:picMk id="183" creationId="{0961CF9C-5EEE-4B4E-A048-A7BF5CDF0EB1}"/>
          </ac:picMkLst>
        </pc:picChg>
        <pc:picChg chg="mod ord">
          <ac:chgData name="PROVENCHERE Sandrine" userId="ad1decff-d2ce-4d29-9d90-3591b80bc438" providerId="ADAL" clId="{E65BD9C0-CDAC-4338-A78A-D75BAE3A8EBD}" dt="2022-02-15T18:58:52.758" v="12117"/>
          <ac:picMkLst>
            <pc:docMk/>
            <pc:sldMk cId="669169856" sldId="318"/>
            <ac:picMk id="184" creationId="{D03C2D69-7F94-4528-80D7-F007ADB06DA0}"/>
          </ac:picMkLst>
        </pc:picChg>
        <pc:picChg chg="del mod ord">
          <ac:chgData name="PROVENCHERE Sandrine" userId="ad1decff-d2ce-4d29-9d90-3591b80bc438" providerId="ADAL" clId="{E65BD9C0-CDAC-4338-A78A-D75BAE3A8EBD}" dt="2022-02-15T18:59:47.126" v="12159" actId="478"/>
          <ac:picMkLst>
            <pc:docMk/>
            <pc:sldMk cId="669169856" sldId="318"/>
            <ac:picMk id="256" creationId="{798BDB5D-B0CC-4290-8C1E-4973622AF86A}"/>
          </ac:picMkLst>
        </pc:picChg>
        <pc:picChg chg="mod ord">
          <ac:chgData name="PROVENCHERE Sandrine" userId="ad1decff-d2ce-4d29-9d90-3591b80bc438" providerId="ADAL" clId="{E65BD9C0-CDAC-4338-A78A-D75BAE3A8EBD}" dt="2022-02-15T18:58:52.758" v="12071"/>
          <ac:picMkLst>
            <pc:docMk/>
            <pc:sldMk cId="669169856" sldId="318"/>
            <ac:picMk id="869" creationId="{ACF24F4C-AA51-48A3-9BBB-F7448B2C06B3}"/>
          </ac:picMkLst>
        </pc:picChg>
        <pc:cxnChg chg="mod ord">
          <ac:chgData name="PROVENCHERE Sandrine" userId="ad1decff-d2ce-4d29-9d90-3591b80bc438" providerId="ADAL" clId="{E65BD9C0-CDAC-4338-A78A-D75BAE3A8EBD}" dt="2022-02-15T18:58:52.773" v="12131"/>
          <ac:cxnSpMkLst>
            <pc:docMk/>
            <pc:sldMk cId="669169856" sldId="318"/>
            <ac:cxnSpMk id="16" creationId="{D61B3765-AA7C-46B6-9B34-B8DC253EF02B}"/>
          </ac:cxnSpMkLst>
        </pc:cxnChg>
        <pc:cxnChg chg="mod ord">
          <ac:chgData name="PROVENCHERE Sandrine" userId="ad1decff-d2ce-4d29-9d90-3591b80bc438" providerId="ADAL" clId="{E65BD9C0-CDAC-4338-A78A-D75BAE3A8EBD}" dt="2022-02-15T18:58:52.773" v="12125"/>
          <ac:cxnSpMkLst>
            <pc:docMk/>
            <pc:sldMk cId="669169856" sldId="318"/>
            <ac:cxnSpMk id="101" creationId="{31F5732E-830B-4973-8237-9325C166A666}"/>
          </ac:cxnSpMkLst>
        </pc:cxnChg>
        <pc:cxnChg chg="mod ord">
          <ac:chgData name="PROVENCHERE Sandrine" userId="ad1decff-d2ce-4d29-9d90-3591b80bc438" providerId="ADAL" clId="{E65BD9C0-CDAC-4338-A78A-D75BAE3A8EBD}" dt="2022-02-15T18:58:52.758" v="12119"/>
          <ac:cxnSpMkLst>
            <pc:docMk/>
            <pc:sldMk cId="669169856" sldId="318"/>
            <ac:cxnSpMk id="185" creationId="{8E070C81-7978-4428-802F-E547D5658686}"/>
          </ac:cxnSpMkLst>
        </pc:cxnChg>
        <pc:cxnChg chg="mod ord">
          <ac:chgData name="PROVENCHERE Sandrine" userId="ad1decff-d2ce-4d29-9d90-3591b80bc438" providerId="ADAL" clId="{E65BD9C0-CDAC-4338-A78A-D75BAE3A8EBD}" dt="2022-02-15T18:58:52.773" v="12133"/>
          <ac:cxnSpMkLst>
            <pc:docMk/>
            <pc:sldMk cId="669169856" sldId="318"/>
            <ac:cxnSpMk id="271" creationId="{43995405-9F1C-413F-BAE8-4B292BEE38A3}"/>
          </ac:cxnSpMkLst>
        </pc:cxnChg>
        <pc:cxnChg chg="mod ord">
          <ac:chgData name="PROVENCHERE Sandrine" userId="ad1decff-d2ce-4d29-9d90-3591b80bc438" providerId="ADAL" clId="{E65BD9C0-CDAC-4338-A78A-D75BAE3A8EBD}" dt="2022-02-15T18:58:52.773" v="12135"/>
          <ac:cxnSpMkLst>
            <pc:docMk/>
            <pc:sldMk cId="669169856" sldId="318"/>
            <ac:cxnSpMk id="272" creationId="{0B8BD528-A892-4230-812F-CE7BBF389505}"/>
          </ac:cxnSpMkLst>
        </pc:cxnChg>
      </pc:sldChg>
    </pc:docChg>
  </pc:docChgLst>
  <pc:docChgLst>
    <pc:chgData name="Sandrine" userId="ad1decff-d2ce-4d29-9d90-3591b80bc438" providerId="ADAL" clId="{1F3AB074-1CA6-4CF5-BBB1-A519ED1E2DF2}"/>
    <pc:docChg chg="undo redo custSel addSld delSld modSld sldOrd modSection">
      <pc:chgData name="Sandrine" userId="ad1decff-d2ce-4d29-9d90-3591b80bc438" providerId="ADAL" clId="{1F3AB074-1CA6-4CF5-BBB1-A519ED1E2DF2}" dt="2021-12-19T13:56:33.754" v="563" actId="20577"/>
      <pc:docMkLst>
        <pc:docMk/>
      </pc:docMkLst>
      <pc:sldChg chg="del">
        <pc:chgData name="Sandrine" userId="ad1decff-d2ce-4d29-9d90-3591b80bc438" providerId="ADAL" clId="{1F3AB074-1CA6-4CF5-BBB1-A519ED1E2DF2}" dt="2021-12-19T12:53:29.926" v="30" actId="47"/>
        <pc:sldMkLst>
          <pc:docMk/>
          <pc:sldMk cId="86583425" sldId="258"/>
        </pc:sldMkLst>
      </pc:sldChg>
      <pc:sldChg chg="addSp delSp modSp mod">
        <pc:chgData name="Sandrine" userId="ad1decff-d2ce-4d29-9d90-3591b80bc438" providerId="ADAL" clId="{1F3AB074-1CA6-4CF5-BBB1-A519ED1E2DF2}" dt="2021-12-19T13:43:31.388" v="425"/>
        <pc:sldMkLst>
          <pc:docMk/>
          <pc:sldMk cId="1940952397" sldId="259"/>
        </pc:sldMkLst>
        <pc:graphicFrameChg chg="del">
          <ac:chgData name="Sandrine" userId="ad1decff-d2ce-4d29-9d90-3591b80bc438" providerId="ADAL" clId="{1F3AB074-1CA6-4CF5-BBB1-A519ED1E2DF2}" dt="2021-12-19T13:43:26.942" v="424" actId="478"/>
          <ac:graphicFrameMkLst>
            <pc:docMk/>
            <pc:sldMk cId="1940952397" sldId="259"/>
            <ac:graphicFrameMk id="2" creationId="{2222CA5A-087A-4825-8DE1-CC0366CC0EF7}"/>
          </ac:graphicFrameMkLst>
        </pc:graphicFrameChg>
        <pc:graphicFrameChg chg="add mod">
          <ac:chgData name="Sandrine" userId="ad1decff-d2ce-4d29-9d90-3591b80bc438" providerId="ADAL" clId="{1F3AB074-1CA6-4CF5-BBB1-A519ED1E2DF2}" dt="2021-12-19T13:43:31.388" v="425"/>
          <ac:graphicFrameMkLst>
            <pc:docMk/>
            <pc:sldMk cId="1940952397" sldId="259"/>
            <ac:graphicFrameMk id="3" creationId="{AE4D226A-2972-4581-A990-6B13E4F0276D}"/>
          </ac:graphicFrameMkLst>
        </pc:graphicFrameChg>
      </pc:sldChg>
      <pc:sldChg chg="addSp delSp modSp mod">
        <pc:chgData name="Sandrine" userId="ad1decff-d2ce-4d29-9d90-3591b80bc438" providerId="ADAL" clId="{1F3AB074-1CA6-4CF5-BBB1-A519ED1E2DF2}" dt="2021-12-19T13:40:58.658" v="405" actId="14100"/>
        <pc:sldMkLst>
          <pc:docMk/>
          <pc:sldMk cId="4153218655" sldId="260"/>
        </pc:sldMkLst>
        <pc:graphicFrameChg chg="del">
          <ac:chgData name="Sandrine" userId="ad1decff-d2ce-4d29-9d90-3591b80bc438" providerId="ADAL" clId="{1F3AB074-1CA6-4CF5-BBB1-A519ED1E2DF2}" dt="2021-12-19T13:40:41.043" v="402" actId="478"/>
          <ac:graphicFrameMkLst>
            <pc:docMk/>
            <pc:sldMk cId="4153218655" sldId="260"/>
            <ac:graphicFrameMk id="3" creationId="{BDC86617-7E8D-4773-B301-8732E94BD272}"/>
          </ac:graphicFrameMkLst>
        </pc:graphicFrameChg>
        <pc:graphicFrameChg chg="add mod">
          <ac:chgData name="Sandrine" userId="ad1decff-d2ce-4d29-9d90-3591b80bc438" providerId="ADAL" clId="{1F3AB074-1CA6-4CF5-BBB1-A519ED1E2DF2}" dt="2021-12-19T13:40:58.658" v="405" actId="14100"/>
          <ac:graphicFrameMkLst>
            <pc:docMk/>
            <pc:sldMk cId="4153218655" sldId="260"/>
            <ac:graphicFrameMk id="4" creationId="{ED4E6A7B-C7C4-4479-8D87-F440D57CCF8B}"/>
          </ac:graphicFrameMkLst>
        </pc:graphicFrameChg>
      </pc:sldChg>
      <pc:sldChg chg="addSp delSp modSp mod">
        <pc:chgData name="Sandrine" userId="ad1decff-d2ce-4d29-9d90-3591b80bc438" providerId="ADAL" clId="{1F3AB074-1CA6-4CF5-BBB1-A519ED1E2DF2}" dt="2021-12-19T13:43:10.454" v="423" actId="1076"/>
        <pc:sldMkLst>
          <pc:docMk/>
          <pc:sldMk cId="1742461301" sldId="261"/>
        </pc:sldMkLst>
        <pc:graphicFrameChg chg="del">
          <ac:chgData name="Sandrine" userId="ad1decff-d2ce-4d29-9d90-3591b80bc438" providerId="ADAL" clId="{1F3AB074-1CA6-4CF5-BBB1-A519ED1E2DF2}" dt="2021-12-19T13:42:54.570" v="418" actId="478"/>
          <ac:graphicFrameMkLst>
            <pc:docMk/>
            <pc:sldMk cId="1742461301" sldId="261"/>
            <ac:graphicFrameMk id="2" creationId="{97CCB0AE-54A4-479A-97B1-F18800D0E3DB}"/>
          </ac:graphicFrameMkLst>
        </pc:graphicFrameChg>
        <pc:graphicFrameChg chg="add mod">
          <ac:chgData name="Sandrine" userId="ad1decff-d2ce-4d29-9d90-3591b80bc438" providerId="ADAL" clId="{1F3AB074-1CA6-4CF5-BBB1-A519ED1E2DF2}" dt="2021-12-19T13:43:10.454" v="423" actId="1076"/>
          <ac:graphicFrameMkLst>
            <pc:docMk/>
            <pc:sldMk cId="1742461301" sldId="261"/>
            <ac:graphicFrameMk id="3" creationId="{E3906DBA-6309-433B-9859-D097FCCEF37A}"/>
          </ac:graphicFrameMkLst>
        </pc:graphicFrameChg>
      </pc:sldChg>
      <pc:sldChg chg="addSp delSp modSp mod">
        <pc:chgData name="Sandrine" userId="ad1decff-d2ce-4d29-9d90-3591b80bc438" providerId="ADAL" clId="{1F3AB074-1CA6-4CF5-BBB1-A519ED1E2DF2}" dt="2021-12-19T13:42:39.523" v="417" actId="14100"/>
        <pc:sldMkLst>
          <pc:docMk/>
          <pc:sldMk cId="1904957226" sldId="263"/>
        </pc:sldMkLst>
        <pc:graphicFrameChg chg="add del mod">
          <ac:chgData name="Sandrine" userId="ad1decff-d2ce-4d29-9d90-3591b80bc438" providerId="ADAL" clId="{1F3AB074-1CA6-4CF5-BBB1-A519ED1E2DF2}" dt="2021-12-19T13:41:47.534" v="410" actId="478"/>
          <ac:graphicFrameMkLst>
            <pc:docMk/>
            <pc:sldMk cId="1904957226" sldId="263"/>
            <ac:graphicFrameMk id="3" creationId="{01606C73-50FF-4701-9278-4111319A70EE}"/>
          </ac:graphicFrameMkLst>
        </pc:graphicFrameChg>
        <pc:graphicFrameChg chg="add del mod">
          <ac:chgData name="Sandrine" userId="ad1decff-d2ce-4d29-9d90-3591b80bc438" providerId="ADAL" clId="{1F3AB074-1CA6-4CF5-BBB1-A519ED1E2DF2}" dt="2021-12-19T13:42:10.004" v="413" actId="478"/>
          <ac:graphicFrameMkLst>
            <pc:docMk/>
            <pc:sldMk cId="1904957226" sldId="263"/>
            <ac:graphicFrameMk id="4" creationId="{1981B7C6-0B37-4ACC-B716-A5FB4E12419B}"/>
          </ac:graphicFrameMkLst>
        </pc:graphicFrameChg>
        <pc:graphicFrameChg chg="add mod">
          <ac:chgData name="Sandrine" userId="ad1decff-d2ce-4d29-9d90-3591b80bc438" providerId="ADAL" clId="{1F3AB074-1CA6-4CF5-BBB1-A519ED1E2DF2}" dt="2021-12-19T13:42:39.523" v="417" actId="14100"/>
          <ac:graphicFrameMkLst>
            <pc:docMk/>
            <pc:sldMk cId="1904957226" sldId="263"/>
            <ac:graphicFrameMk id="5" creationId="{460B2019-EEDE-42F4-9C5A-D859ED677DFD}"/>
          </ac:graphicFrameMkLst>
        </pc:graphicFrameChg>
        <pc:graphicFrameChg chg="del">
          <ac:chgData name="Sandrine" userId="ad1decff-d2ce-4d29-9d90-3591b80bc438" providerId="ADAL" clId="{1F3AB074-1CA6-4CF5-BBB1-A519ED1E2DF2}" dt="2021-12-19T13:41:16.515" v="406" actId="478"/>
          <ac:graphicFrameMkLst>
            <pc:docMk/>
            <pc:sldMk cId="1904957226" sldId="263"/>
            <ac:graphicFrameMk id="9" creationId="{91F45A39-75CB-4602-9896-D9E3C9DA5795}"/>
          </ac:graphicFrameMkLst>
        </pc:graphicFrameChg>
      </pc:sldChg>
      <pc:sldChg chg="del">
        <pc:chgData name="Sandrine" userId="ad1decff-d2ce-4d29-9d90-3591b80bc438" providerId="ADAL" clId="{1F3AB074-1CA6-4CF5-BBB1-A519ED1E2DF2}" dt="2021-12-19T12:53:24.637" v="27" actId="47"/>
        <pc:sldMkLst>
          <pc:docMk/>
          <pc:sldMk cId="4225315447" sldId="301"/>
        </pc:sldMkLst>
      </pc:sldChg>
      <pc:sldChg chg="addSp delSp modSp mod">
        <pc:chgData name="Sandrine" userId="ad1decff-d2ce-4d29-9d90-3591b80bc438" providerId="ADAL" clId="{1F3AB074-1CA6-4CF5-BBB1-A519ED1E2DF2}" dt="2021-12-19T13:56:33.754" v="563" actId="20577"/>
        <pc:sldMkLst>
          <pc:docMk/>
          <pc:sldMk cId="2995402291" sldId="302"/>
        </pc:sldMkLst>
        <pc:spChg chg="mod">
          <ac:chgData name="Sandrine" userId="ad1decff-d2ce-4d29-9d90-3591b80bc438" providerId="ADAL" clId="{1F3AB074-1CA6-4CF5-BBB1-A519ED1E2DF2}" dt="2021-12-19T12:52:02.147" v="7" actId="20577"/>
          <ac:spMkLst>
            <pc:docMk/>
            <pc:sldMk cId="2995402291" sldId="302"/>
            <ac:spMk id="2" creationId="{5660FD56-7A4F-47E5-8616-21914FCCBB4D}"/>
          </ac:spMkLst>
        </pc:spChg>
        <pc:spChg chg="add del mod">
          <ac:chgData name="Sandrine" userId="ad1decff-d2ce-4d29-9d90-3591b80bc438" providerId="ADAL" clId="{1F3AB074-1CA6-4CF5-BBB1-A519ED1E2DF2}" dt="2021-12-19T13:55:58.461" v="544" actId="1076"/>
          <ac:spMkLst>
            <pc:docMk/>
            <pc:sldMk cId="2995402291" sldId="302"/>
            <ac:spMk id="12" creationId="{F326DB1C-B871-4ABD-BFB9-FFC64EBCEC88}"/>
          </ac:spMkLst>
        </pc:spChg>
        <pc:spChg chg="add mod">
          <ac:chgData name="Sandrine" userId="ad1decff-d2ce-4d29-9d90-3591b80bc438" providerId="ADAL" clId="{1F3AB074-1CA6-4CF5-BBB1-A519ED1E2DF2}" dt="2021-12-19T13:56:15.990" v="558" actId="20577"/>
          <ac:spMkLst>
            <pc:docMk/>
            <pc:sldMk cId="2995402291" sldId="302"/>
            <ac:spMk id="15" creationId="{0B8BFFBD-64CF-4D5B-8D8D-C5A33CE541A4}"/>
          </ac:spMkLst>
        </pc:spChg>
        <pc:spChg chg="add mod">
          <ac:chgData name="Sandrine" userId="ad1decff-d2ce-4d29-9d90-3591b80bc438" providerId="ADAL" clId="{1F3AB074-1CA6-4CF5-BBB1-A519ED1E2DF2}" dt="2021-12-19T13:49:11.338" v="453" actId="1076"/>
          <ac:spMkLst>
            <pc:docMk/>
            <pc:sldMk cId="2995402291" sldId="302"/>
            <ac:spMk id="40" creationId="{E2A61ACC-8366-4DF2-A03D-313594541598}"/>
          </ac:spMkLst>
        </pc:spChg>
        <pc:spChg chg="add mod">
          <ac:chgData name="Sandrine" userId="ad1decff-d2ce-4d29-9d90-3591b80bc438" providerId="ADAL" clId="{1F3AB074-1CA6-4CF5-BBB1-A519ED1E2DF2}" dt="2021-12-19T13:49:11.338" v="453" actId="1076"/>
          <ac:spMkLst>
            <pc:docMk/>
            <pc:sldMk cId="2995402291" sldId="302"/>
            <ac:spMk id="41" creationId="{074C132B-7786-4707-AF69-D479087E3EAA}"/>
          </ac:spMkLst>
        </pc:spChg>
        <pc:spChg chg="add mod">
          <ac:chgData name="Sandrine" userId="ad1decff-d2ce-4d29-9d90-3591b80bc438" providerId="ADAL" clId="{1F3AB074-1CA6-4CF5-BBB1-A519ED1E2DF2}" dt="2021-12-19T13:55:08.815" v="513" actId="20577"/>
          <ac:spMkLst>
            <pc:docMk/>
            <pc:sldMk cId="2995402291" sldId="302"/>
            <ac:spMk id="45" creationId="{14BC4F4E-5EA0-43C9-AF44-4ACFD09108D7}"/>
          </ac:spMkLst>
        </pc:spChg>
        <pc:spChg chg="add mod">
          <ac:chgData name="Sandrine" userId="ad1decff-d2ce-4d29-9d90-3591b80bc438" providerId="ADAL" clId="{1F3AB074-1CA6-4CF5-BBB1-A519ED1E2DF2}" dt="2021-12-19T13:55:20.360" v="517" actId="20577"/>
          <ac:spMkLst>
            <pc:docMk/>
            <pc:sldMk cId="2995402291" sldId="302"/>
            <ac:spMk id="46" creationId="{2340FF4B-5A9C-48FD-A4C5-5386B4AC990D}"/>
          </ac:spMkLst>
        </pc:spChg>
        <pc:spChg chg="add mod">
          <ac:chgData name="Sandrine" userId="ad1decff-d2ce-4d29-9d90-3591b80bc438" providerId="ADAL" clId="{1F3AB074-1CA6-4CF5-BBB1-A519ED1E2DF2}" dt="2021-12-19T13:56:05.898" v="546" actId="1076"/>
          <ac:spMkLst>
            <pc:docMk/>
            <pc:sldMk cId="2995402291" sldId="302"/>
            <ac:spMk id="48" creationId="{9F682470-E009-48EE-A460-9F4B3F83FDEE}"/>
          </ac:spMkLst>
        </pc:spChg>
        <pc:spChg chg="add mod">
          <ac:chgData name="Sandrine" userId="ad1decff-d2ce-4d29-9d90-3591b80bc438" providerId="ADAL" clId="{1F3AB074-1CA6-4CF5-BBB1-A519ED1E2DF2}" dt="2021-12-19T13:56:33.754" v="563" actId="20577"/>
          <ac:spMkLst>
            <pc:docMk/>
            <pc:sldMk cId="2995402291" sldId="302"/>
            <ac:spMk id="49" creationId="{46D04A86-B40D-45F8-B59C-F04D2B600434}"/>
          </ac:spMkLst>
        </pc:spChg>
        <pc:spChg chg="del">
          <ac:chgData name="Sandrine" userId="ad1decff-d2ce-4d29-9d90-3591b80bc438" providerId="ADAL" clId="{1F3AB074-1CA6-4CF5-BBB1-A519ED1E2DF2}" dt="2021-12-19T13:48:33.981" v="447" actId="478"/>
          <ac:spMkLst>
            <pc:docMk/>
            <pc:sldMk cId="2995402291" sldId="302"/>
            <ac:spMk id="55" creationId="{B3A0BF32-D698-46D3-8036-4EC52D29CCA2}"/>
          </ac:spMkLst>
        </pc:spChg>
        <pc:spChg chg="add del mod">
          <ac:chgData name="Sandrine" userId="ad1decff-d2ce-4d29-9d90-3591b80bc438" providerId="ADAL" clId="{1F3AB074-1CA6-4CF5-BBB1-A519ED1E2DF2}" dt="2021-12-19T13:54:56.772" v="508" actId="1076"/>
          <ac:spMkLst>
            <pc:docMk/>
            <pc:sldMk cId="2995402291" sldId="302"/>
            <ac:spMk id="70" creationId="{5D246083-010F-4C9B-9CD8-31978639B100}"/>
          </ac:spMkLst>
        </pc:spChg>
        <pc:spChg chg="mod">
          <ac:chgData name="Sandrine" userId="ad1decff-d2ce-4d29-9d90-3591b80bc438" providerId="ADAL" clId="{1F3AB074-1CA6-4CF5-BBB1-A519ED1E2DF2}" dt="2021-12-19T13:51:48.392" v="480" actId="14100"/>
          <ac:spMkLst>
            <pc:docMk/>
            <pc:sldMk cId="2995402291" sldId="302"/>
            <ac:spMk id="72" creationId="{6FBFF67A-440C-4BF4-909A-C9FBD29357D0}"/>
          </ac:spMkLst>
        </pc:spChg>
        <pc:spChg chg="del">
          <ac:chgData name="Sandrine" userId="ad1decff-d2ce-4d29-9d90-3591b80bc438" providerId="ADAL" clId="{1F3AB074-1CA6-4CF5-BBB1-A519ED1E2DF2}" dt="2021-12-19T13:49:42.924" v="464" actId="478"/>
          <ac:spMkLst>
            <pc:docMk/>
            <pc:sldMk cId="2995402291" sldId="302"/>
            <ac:spMk id="92" creationId="{64114A14-DD21-4B7F-A7D8-A1E595EE094B}"/>
          </ac:spMkLst>
        </pc:spChg>
        <pc:spChg chg="del">
          <ac:chgData name="Sandrine" userId="ad1decff-d2ce-4d29-9d90-3591b80bc438" providerId="ADAL" clId="{1F3AB074-1CA6-4CF5-BBB1-A519ED1E2DF2}" dt="2021-12-19T13:49:35.710" v="461" actId="478"/>
          <ac:spMkLst>
            <pc:docMk/>
            <pc:sldMk cId="2995402291" sldId="302"/>
            <ac:spMk id="93" creationId="{5926F622-9C71-4197-AC8E-C94300BA25E0}"/>
          </ac:spMkLst>
        </pc:spChg>
        <pc:spChg chg="del">
          <ac:chgData name="Sandrine" userId="ad1decff-d2ce-4d29-9d90-3591b80bc438" providerId="ADAL" clId="{1F3AB074-1CA6-4CF5-BBB1-A519ED1E2DF2}" dt="2021-12-19T13:49:31.391" v="459" actId="478"/>
          <ac:spMkLst>
            <pc:docMk/>
            <pc:sldMk cId="2995402291" sldId="302"/>
            <ac:spMk id="100" creationId="{D6037D18-8E6A-4999-B3CD-D6696E7C8D29}"/>
          </ac:spMkLst>
        </pc:spChg>
        <pc:spChg chg="mod">
          <ac:chgData name="Sandrine" userId="ad1decff-d2ce-4d29-9d90-3591b80bc438" providerId="ADAL" clId="{1F3AB074-1CA6-4CF5-BBB1-A519ED1E2DF2}" dt="2021-12-19T13:49:23.699" v="456"/>
          <ac:spMkLst>
            <pc:docMk/>
            <pc:sldMk cId="2995402291" sldId="302"/>
            <ac:spMk id="102" creationId="{C109BD84-4ECE-41E7-A595-53FBB9E269E4}"/>
          </ac:spMkLst>
        </pc:spChg>
        <pc:spChg chg="del mod">
          <ac:chgData name="Sandrine" userId="ad1decff-d2ce-4d29-9d90-3591b80bc438" providerId="ADAL" clId="{1F3AB074-1CA6-4CF5-BBB1-A519ED1E2DF2}" dt="2021-12-19T13:49:29.767" v="458" actId="478"/>
          <ac:spMkLst>
            <pc:docMk/>
            <pc:sldMk cId="2995402291" sldId="302"/>
            <ac:spMk id="103" creationId="{2DFFD46C-FFA4-47CB-9E16-BB7EFFAE0DEF}"/>
          </ac:spMkLst>
        </pc:spChg>
        <pc:spChg chg="del mod">
          <ac:chgData name="Sandrine" userId="ad1decff-d2ce-4d29-9d90-3591b80bc438" providerId="ADAL" clId="{1F3AB074-1CA6-4CF5-BBB1-A519ED1E2DF2}" dt="2021-12-19T13:48:29.502" v="444" actId="478"/>
          <ac:spMkLst>
            <pc:docMk/>
            <pc:sldMk cId="2995402291" sldId="302"/>
            <ac:spMk id="107" creationId="{910D5080-1565-4355-8554-B1CA241378BA}"/>
          </ac:spMkLst>
        </pc:spChg>
        <pc:spChg chg="del">
          <ac:chgData name="Sandrine" userId="ad1decff-d2ce-4d29-9d90-3591b80bc438" providerId="ADAL" clId="{1F3AB074-1CA6-4CF5-BBB1-A519ED1E2DF2}" dt="2021-12-19T13:49:33.381" v="460" actId="478"/>
          <ac:spMkLst>
            <pc:docMk/>
            <pc:sldMk cId="2995402291" sldId="302"/>
            <ac:spMk id="122" creationId="{27321596-2308-40B7-9AB8-B4B01299F9B2}"/>
          </ac:spMkLst>
        </pc:spChg>
        <pc:spChg chg="del">
          <ac:chgData name="Sandrine" userId="ad1decff-d2ce-4d29-9d90-3591b80bc438" providerId="ADAL" clId="{1F3AB074-1CA6-4CF5-BBB1-A519ED1E2DF2}" dt="2021-12-19T13:49:46.005" v="466" actId="478"/>
          <ac:spMkLst>
            <pc:docMk/>
            <pc:sldMk cId="2995402291" sldId="302"/>
            <ac:spMk id="240" creationId="{4BFD82B9-2B97-400C-8DA4-4E07A801D006}"/>
          </ac:spMkLst>
        </pc:spChg>
        <pc:spChg chg="del">
          <ac:chgData name="Sandrine" userId="ad1decff-d2ce-4d29-9d90-3591b80bc438" providerId="ADAL" clId="{1F3AB074-1CA6-4CF5-BBB1-A519ED1E2DF2}" dt="2021-12-19T13:49:48.806" v="468" actId="478"/>
          <ac:spMkLst>
            <pc:docMk/>
            <pc:sldMk cId="2995402291" sldId="302"/>
            <ac:spMk id="295" creationId="{8CB4C2FD-367C-4879-8586-35DF1CE6DBB3}"/>
          </ac:spMkLst>
        </pc:spChg>
        <pc:picChg chg="del">
          <ac:chgData name="Sandrine" userId="ad1decff-d2ce-4d29-9d90-3591b80bc438" providerId="ADAL" clId="{1F3AB074-1CA6-4CF5-BBB1-A519ED1E2DF2}" dt="2021-12-19T13:49:13.989" v="454" actId="478"/>
          <ac:picMkLst>
            <pc:docMk/>
            <pc:sldMk cId="2995402291" sldId="302"/>
            <ac:picMk id="4" creationId="{43DE472C-352A-43B2-9F11-CADCC8F1C58F}"/>
          </ac:picMkLst>
        </pc:picChg>
        <pc:picChg chg="del">
          <ac:chgData name="Sandrine" userId="ad1decff-d2ce-4d29-9d90-3591b80bc438" providerId="ADAL" clId="{1F3AB074-1CA6-4CF5-BBB1-A519ED1E2DF2}" dt="2021-12-19T13:48:08.367" v="438" actId="478"/>
          <ac:picMkLst>
            <pc:docMk/>
            <pc:sldMk cId="2995402291" sldId="302"/>
            <ac:picMk id="8" creationId="{0EF0FD22-7E72-49FA-A420-6FDE7598F62E}"/>
          </ac:picMkLst>
        </pc:picChg>
        <pc:picChg chg="add mod">
          <ac:chgData name="Sandrine" userId="ad1decff-d2ce-4d29-9d90-3591b80bc438" providerId="ADAL" clId="{1F3AB074-1CA6-4CF5-BBB1-A519ED1E2DF2}" dt="2021-12-19T13:54:03.187" v="483" actId="1076"/>
          <ac:picMkLst>
            <pc:docMk/>
            <pc:sldMk cId="2995402291" sldId="302"/>
            <ac:picMk id="9" creationId="{608BAF24-7A22-4675-9762-150B64677425}"/>
          </ac:picMkLst>
        </pc:picChg>
        <pc:picChg chg="del">
          <ac:chgData name="Sandrine" userId="ad1decff-d2ce-4d29-9d90-3591b80bc438" providerId="ADAL" clId="{1F3AB074-1CA6-4CF5-BBB1-A519ED1E2DF2}" dt="2021-12-19T13:49:14.790" v="455" actId="478"/>
          <ac:picMkLst>
            <pc:docMk/>
            <pc:sldMk cId="2995402291" sldId="302"/>
            <ac:picMk id="10" creationId="{374C20EB-C0F3-4D89-BE48-86028A29B5FC}"/>
          </ac:picMkLst>
        </pc:picChg>
        <pc:picChg chg="del">
          <ac:chgData name="Sandrine" userId="ad1decff-d2ce-4d29-9d90-3591b80bc438" providerId="ADAL" clId="{1F3AB074-1CA6-4CF5-BBB1-A519ED1E2DF2}" dt="2021-12-19T13:48:30.252" v="445" actId="478"/>
          <ac:picMkLst>
            <pc:docMk/>
            <pc:sldMk cId="2995402291" sldId="302"/>
            <ac:picMk id="11" creationId="{11EFEC27-B53F-4665-8A7A-20C320635EFB}"/>
          </ac:picMkLst>
        </pc:picChg>
        <pc:picChg chg="del">
          <ac:chgData name="Sandrine" userId="ad1decff-d2ce-4d29-9d90-3591b80bc438" providerId="ADAL" clId="{1F3AB074-1CA6-4CF5-BBB1-A519ED1E2DF2}" dt="2021-12-19T13:48:31.216" v="446" actId="478"/>
          <ac:picMkLst>
            <pc:docMk/>
            <pc:sldMk cId="2995402291" sldId="302"/>
            <ac:picMk id="14" creationId="{F8DF10AB-BC8E-4EFA-968B-C6F1073FE458}"/>
          </ac:picMkLst>
        </pc:picChg>
        <pc:picChg chg="mod">
          <ac:chgData name="Sandrine" userId="ad1decff-d2ce-4d29-9d90-3591b80bc438" providerId="ADAL" clId="{1F3AB074-1CA6-4CF5-BBB1-A519ED1E2DF2}" dt="2021-12-19T13:51:02.176" v="474" actId="14100"/>
          <ac:picMkLst>
            <pc:docMk/>
            <pc:sldMk cId="2995402291" sldId="302"/>
            <ac:picMk id="104" creationId="{66215C4C-F251-4190-B785-4C69A17BD2ED}"/>
          </ac:picMkLst>
        </pc:picChg>
        <pc:cxnChg chg="add mod">
          <ac:chgData name="Sandrine" userId="ad1decff-d2ce-4d29-9d90-3591b80bc438" providerId="ADAL" clId="{1F3AB074-1CA6-4CF5-BBB1-A519ED1E2DF2}" dt="2021-12-19T13:49:11.338" v="453" actId="1076"/>
          <ac:cxnSpMkLst>
            <pc:docMk/>
            <pc:sldMk cId="2995402291" sldId="302"/>
            <ac:cxnSpMk id="42" creationId="{4D33F94D-3D8C-4351-8988-730A7BA2E2A9}"/>
          </ac:cxnSpMkLst>
        </pc:cxnChg>
        <pc:cxnChg chg="add mod">
          <ac:chgData name="Sandrine" userId="ad1decff-d2ce-4d29-9d90-3591b80bc438" providerId="ADAL" clId="{1F3AB074-1CA6-4CF5-BBB1-A519ED1E2DF2}" dt="2021-12-19T13:49:11.338" v="453" actId="1076"/>
          <ac:cxnSpMkLst>
            <pc:docMk/>
            <pc:sldMk cId="2995402291" sldId="302"/>
            <ac:cxnSpMk id="43" creationId="{97AE0169-AFD1-4D3E-B373-BFF698559F41}"/>
          </ac:cxnSpMkLst>
        </pc:cxnChg>
        <pc:cxnChg chg="del">
          <ac:chgData name="Sandrine" userId="ad1decff-d2ce-4d29-9d90-3591b80bc438" providerId="ADAL" clId="{1F3AB074-1CA6-4CF5-BBB1-A519ED1E2DF2}" dt="2021-12-19T13:49:46.913" v="467" actId="478"/>
          <ac:cxnSpMkLst>
            <pc:docMk/>
            <pc:sldMk cId="2995402291" sldId="302"/>
            <ac:cxnSpMk id="241" creationId="{8D72865D-2B00-4738-A799-D04F074D05F0}"/>
          </ac:cxnSpMkLst>
        </pc:cxnChg>
        <pc:cxnChg chg="del">
          <ac:chgData name="Sandrine" userId="ad1decff-d2ce-4d29-9d90-3591b80bc438" providerId="ADAL" clId="{1F3AB074-1CA6-4CF5-BBB1-A519ED1E2DF2}" dt="2021-12-19T13:49:44.367" v="465" actId="478"/>
          <ac:cxnSpMkLst>
            <pc:docMk/>
            <pc:sldMk cId="2995402291" sldId="302"/>
            <ac:cxnSpMk id="242" creationId="{53E0D234-6E24-49BC-A813-740A80CE002B}"/>
          </ac:cxnSpMkLst>
        </pc:cxnChg>
      </pc:sldChg>
      <pc:sldChg chg="addSp delSp modSp mod">
        <pc:chgData name="Sandrine" userId="ad1decff-d2ce-4d29-9d90-3591b80bc438" providerId="ADAL" clId="{1F3AB074-1CA6-4CF5-BBB1-A519ED1E2DF2}" dt="2021-12-19T13:40:33.872" v="401" actId="1076"/>
        <pc:sldMkLst>
          <pc:docMk/>
          <pc:sldMk cId="2715760571" sldId="311"/>
        </pc:sldMkLst>
        <pc:spChg chg="add mod">
          <ac:chgData name="Sandrine" userId="ad1decff-d2ce-4d29-9d90-3591b80bc438" providerId="ADAL" clId="{1F3AB074-1CA6-4CF5-BBB1-A519ED1E2DF2}" dt="2021-12-19T13:40:33.872" v="401" actId="1076"/>
          <ac:spMkLst>
            <pc:docMk/>
            <pc:sldMk cId="2715760571" sldId="311"/>
            <ac:spMk id="2" creationId="{E59813E8-231E-45DF-B016-5912DEAE3F46}"/>
          </ac:spMkLst>
        </pc:spChg>
        <pc:spChg chg="mod">
          <ac:chgData name="Sandrine" userId="ad1decff-d2ce-4d29-9d90-3591b80bc438" providerId="ADAL" clId="{1F3AB074-1CA6-4CF5-BBB1-A519ED1E2DF2}" dt="2021-12-19T13:30:18.720" v="97" actId="20577"/>
          <ac:spMkLst>
            <pc:docMk/>
            <pc:sldMk cId="2715760571" sldId="311"/>
            <ac:spMk id="156" creationId="{FFB1ADF8-FC39-450E-8713-51E84E19C50B}"/>
          </ac:spMkLst>
        </pc:spChg>
        <pc:spChg chg="mod">
          <ac:chgData name="Sandrine" userId="ad1decff-d2ce-4d29-9d90-3591b80bc438" providerId="ADAL" clId="{1F3AB074-1CA6-4CF5-BBB1-A519ED1E2DF2}" dt="2021-12-19T13:32:41.328" v="291" actId="20577"/>
          <ac:spMkLst>
            <pc:docMk/>
            <pc:sldMk cId="2715760571" sldId="311"/>
            <ac:spMk id="157" creationId="{FB7A7D5C-429B-42F4-B257-D107BFE0E02D}"/>
          </ac:spMkLst>
        </pc:spChg>
        <pc:spChg chg="mod">
          <ac:chgData name="Sandrine" userId="ad1decff-d2ce-4d29-9d90-3591b80bc438" providerId="ADAL" clId="{1F3AB074-1CA6-4CF5-BBB1-A519ED1E2DF2}" dt="2021-12-19T13:30:03.035" v="93" actId="20577"/>
          <ac:spMkLst>
            <pc:docMk/>
            <pc:sldMk cId="2715760571" sldId="311"/>
            <ac:spMk id="162" creationId="{5CA29E31-9C27-47C4-87D8-9254DF9F739D}"/>
          </ac:spMkLst>
        </pc:spChg>
        <pc:spChg chg="mod">
          <ac:chgData name="Sandrine" userId="ad1decff-d2ce-4d29-9d90-3591b80bc438" providerId="ADAL" clId="{1F3AB074-1CA6-4CF5-BBB1-A519ED1E2DF2}" dt="2021-12-19T13:30:12.320" v="95" actId="20577"/>
          <ac:spMkLst>
            <pc:docMk/>
            <pc:sldMk cId="2715760571" sldId="311"/>
            <ac:spMk id="164" creationId="{7B64E7BF-CF59-4648-94EB-7A74AD3D5C0D}"/>
          </ac:spMkLst>
        </pc:spChg>
        <pc:spChg chg="mod">
          <ac:chgData name="Sandrine" userId="ad1decff-d2ce-4d29-9d90-3591b80bc438" providerId="ADAL" clId="{1F3AB074-1CA6-4CF5-BBB1-A519ED1E2DF2}" dt="2021-12-19T13:32:46.443" v="293" actId="20577"/>
          <ac:spMkLst>
            <pc:docMk/>
            <pc:sldMk cId="2715760571" sldId="311"/>
            <ac:spMk id="165" creationId="{72493A5C-7BE1-449E-A5BA-C58C77C4D6A1}"/>
          </ac:spMkLst>
        </pc:spChg>
        <pc:spChg chg="mod">
          <ac:chgData name="Sandrine" userId="ad1decff-d2ce-4d29-9d90-3591b80bc438" providerId="ADAL" clId="{1F3AB074-1CA6-4CF5-BBB1-A519ED1E2DF2}" dt="2021-12-19T13:32:52.497" v="295" actId="20577"/>
          <ac:spMkLst>
            <pc:docMk/>
            <pc:sldMk cId="2715760571" sldId="311"/>
            <ac:spMk id="166" creationId="{10133404-69A2-4C5A-AFCF-BBAD1E9D1CC7}"/>
          </ac:spMkLst>
        </pc:spChg>
        <pc:spChg chg="mod">
          <ac:chgData name="Sandrine" userId="ad1decff-d2ce-4d29-9d90-3591b80bc438" providerId="ADAL" clId="{1F3AB074-1CA6-4CF5-BBB1-A519ED1E2DF2}" dt="2021-12-19T13:30:08.889" v="94" actId="20577"/>
          <ac:spMkLst>
            <pc:docMk/>
            <pc:sldMk cId="2715760571" sldId="311"/>
            <ac:spMk id="167" creationId="{1EE0F536-1CDA-4CA8-B758-F9EB93AD4D7E}"/>
          </ac:spMkLst>
        </pc:spChg>
        <pc:spChg chg="mod">
          <ac:chgData name="Sandrine" userId="ad1decff-d2ce-4d29-9d90-3591b80bc438" providerId="ADAL" clId="{1F3AB074-1CA6-4CF5-BBB1-A519ED1E2DF2}" dt="2021-12-19T13:30:21.864" v="98" actId="20577"/>
          <ac:spMkLst>
            <pc:docMk/>
            <pc:sldMk cId="2715760571" sldId="311"/>
            <ac:spMk id="168" creationId="{256E1423-A209-48D4-AFF3-8C76C5F02B1E}"/>
          </ac:spMkLst>
        </pc:spChg>
        <pc:spChg chg="mod">
          <ac:chgData name="Sandrine" userId="ad1decff-d2ce-4d29-9d90-3591b80bc438" providerId="ADAL" clId="{1F3AB074-1CA6-4CF5-BBB1-A519ED1E2DF2}" dt="2021-12-19T13:30:25.042" v="99" actId="20577"/>
          <ac:spMkLst>
            <pc:docMk/>
            <pc:sldMk cId="2715760571" sldId="311"/>
            <ac:spMk id="169" creationId="{93D26106-91A6-4BA4-92EB-AC4980D93D44}"/>
          </ac:spMkLst>
        </pc:spChg>
        <pc:spChg chg="mod">
          <ac:chgData name="Sandrine" userId="ad1decff-d2ce-4d29-9d90-3591b80bc438" providerId="ADAL" clId="{1F3AB074-1CA6-4CF5-BBB1-A519ED1E2DF2}" dt="2021-12-19T13:30:27.885" v="100" actId="20577"/>
          <ac:spMkLst>
            <pc:docMk/>
            <pc:sldMk cId="2715760571" sldId="311"/>
            <ac:spMk id="173" creationId="{7DB56D33-38DD-4C6B-AC78-566A167A3FEC}"/>
          </ac:spMkLst>
        </pc:spChg>
        <pc:spChg chg="mod">
          <ac:chgData name="Sandrine" userId="ad1decff-d2ce-4d29-9d90-3591b80bc438" providerId="ADAL" clId="{1F3AB074-1CA6-4CF5-BBB1-A519ED1E2DF2}" dt="2021-12-19T13:32:44.279" v="292" actId="20577"/>
          <ac:spMkLst>
            <pc:docMk/>
            <pc:sldMk cId="2715760571" sldId="311"/>
            <ac:spMk id="174" creationId="{030F21D3-A9A5-47DD-8F6A-1F8E23FCB6A2}"/>
          </ac:spMkLst>
        </pc:spChg>
        <pc:spChg chg="mod">
          <ac:chgData name="Sandrine" userId="ad1decff-d2ce-4d29-9d90-3591b80bc438" providerId="ADAL" clId="{1F3AB074-1CA6-4CF5-BBB1-A519ED1E2DF2}" dt="2021-12-19T13:29:48.442" v="87" actId="20577"/>
          <ac:spMkLst>
            <pc:docMk/>
            <pc:sldMk cId="2715760571" sldId="311"/>
            <ac:spMk id="177" creationId="{59E56C5E-C398-4AB8-9E25-9801882A83FD}"/>
          </ac:spMkLst>
        </pc:spChg>
        <pc:spChg chg="mod">
          <ac:chgData name="Sandrine" userId="ad1decff-d2ce-4d29-9d90-3591b80bc438" providerId="ADAL" clId="{1F3AB074-1CA6-4CF5-BBB1-A519ED1E2DF2}" dt="2021-12-19T13:29:53.185" v="89" actId="20577"/>
          <ac:spMkLst>
            <pc:docMk/>
            <pc:sldMk cId="2715760571" sldId="311"/>
            <ac:spMk id="179" creationId="{8837CD83-9A90-4F1F-9C41-A9D386AE81A8}"/>
          </ac:spMkLst>
        </pc:spChg>
        <pc:spChg chg="mod">
          <ac:chgData name="Sandrine" userId="ad1decff-d2ce-4d29-9d90-3591b80bc438" providerId="ADAL" clId="{1F3AB074-1CA6-4CF5-BBB1-A519ED1E2DF2}" dt="2021-12-19T13:29:56.685" v="91" actId="20577"/>
          <ac:spMkLst>
            <pc:docMk/>
            <pc:sldMk cId="2715760571" sldId="311"/>
            <ac:spMk id="180" creationId="{1F37C3BB-E3C2-482F-B5B4-7024EAC582E6}"/>
          </ac:spMkLst>
        </pc:spChg>
        <pc:spChg chg="mod">
          <ac:chgData name="Sandrine" userId="ad1decff-d2ce-4d29-9d90-3591b80bc438" providerId="ADAL" clId="{1F3AB074-1CA6-4CF5-BBB1-A519ED1E2DF2}" dt="2021-12-19T13:29:59.878" v="92" actId="20577"/>
          <ac:spMkLst>
            <pc:docMk/>
            <pc:sldMk cId="2715760571" sldId="311"/>
            <ac:spMk id="181" creationId="{51768A0B-0C85-4FAE-9D46-00462015D554}"/>
          </ac:spMkLst>
        </pc:spChg>
        <pc:spChg chg="mod">
          <ac:chgData name="Sandrine" userId="ad1decff-d2ce-4d29-9d90-3591b80bc438" providerId="ADAL" clId="{1F3AB074-1CA6-4CF5-BBB1-A519ED1E2DF2}" dt="2021-12-19T13:33:14.380" v="302"/>
          <ac:spMkLst>
            <pc:docMk/>
            <pc:sldMk cId="2715760571" sldId="311"/>
            <ac:spMk id="183" creationId="{B4C2011B-FD8D-436B-9510-08C305D213D2}"/>
          </ac:spMkLst>
        </pc:spChg>
        <pc:spChg chg="mod">
          <ac:chgData name="Sandrine" userId="ad1decff-d2ce-4d29-9d90-3591b80bc438" providerId="ADAL" clId="{1F3AB074-1CA6-4CF5-BBB1-A519ED1E2DF2}" dt="2021-12-19T13:33:14.380" v="302"/>
          <ac:spMkLst>
            <pc:docMk/>
            <pc:sldMk cId="2715760571" sldId="311"/>
            <ac:spMk id="186" creationId="{0F409138-C47E-42A7-B462-E3CE8A89B63E}"/>
          </ac:spMkLst>
        </pc:spChg>
        <pc:spChg chg="mod">
          <ac:chgData name="Sandrine" userId="ad1decff-d2ce-4d29-9d90-3591b80bc438" providerId="ADAL" clId="{1F3AB074-1CA6-4CF5-BBB1-A519ED1E2DF2}" dt="2021-12-19T13:30:31.144" v="101" actId="20577"/>
          <ac:spMkLst>
            <pc:docMk/>
            <pc:sldMk cId="2715760571" sldId="311"/>
            <ac:spMk id="194" creationId="{0A616563-7977-47D0-B4F3-7AE2898D4097}"/>
          </ac:spMkLst>
        </pc:spChg>
        <pc:spChg chg="mod">
          <ac:chgData name="Sandrine" userId="ad1decff-d2ce-4d29-9d90-3591b80bc438" providerId="ADAL" clId="{1F3AB074-1CA6-4CF5-BBB1-A519ED1E2DF2}" dt="2021-12-19T13:32:55.149" v="296" actId="20577"/>
          <ac:spMkLst>
            <pc:docMk/>
            <pc:sldMk cId="2715760571" sldId="311"/>
            <ac:spMk id="197" creationId="{269FA514-7E09-4851-878B-A7DF41C04C12}"/>
          </ac:spMkLst>
        </pc:spChg>
        <pc:spChg chg="mod">
          <ac:chgData name="Sandrine" userId="ad1decff-d2ce-4d29-9d90-3591b80bc438" providerId="ADAL" clId="{1F3AB074-1CA6-4CF5-BBB1-A519ED1E2DF2}" dt="2021-12-19T13:32:38.567" v="290" actId="20577"/>
          <ac:spMkLst>
            <pc:docMk/>
            <pc:sldMk cId="2715760571" sldId="311"/>
            <ac:spMk id="198" creationId="{2CCDC18F-0248-43B2-92DE-CE2D93D2CAED}"/>
          </ac:spMkLst>
        </pc:spChg>
        <pc:spChg chg="mod">
          <ac:chgData name="Sandrine" userId="ad1decff-d2ce-4d29-9d90-3591b80bc438" providerId="ADAL" clId="{1F3AB074-1CA6-4CF5-BBB1-A519ED1E2DF2}" dt="2021-12-19T13:30:15.663" v="96" actId="20577"/>
          <ac:spMkLst>
            <pc:docMk/>
            <pc:sldMk cId="2715760571" sldId="311"/>
            <ac:spMk id="199" creationId="{D12FEA10-F966-47C4-B7BA-75D9F21C8E56}"/>
          </ac:spMkLst>
        </pc:spChg>
        <pc:spChg chg="mod">
          <ac:chgData name="Sandrine" userId="ad1decff-d2ce-4d29-9d90-3591b80bc438" providerId="ADAL" clId="{1F3AB074-1CA6-4CF5-BBB1-A519ED1E2DF2}" dt="2021-12-19T13:33:03.687" v="299" actId="20577"/>
          <ac:spMkLst>
            <pc:docMk/>
            <pc:sldMk cId="2715760571" sldId="311"/>
            <ac:spMk id="205" creationId="{FF4E99C7-E06D-4BF8-8923-A237F58B3A0F}"/>
          </ac:spMkLst>
        </pc:spChg>
        <pc:spChg chg="mod">
          <ac:chgData name="Sandrine" userId="ad1decff-d2ce-4d29-9d90-3591b80bc438" providerId="ADAL" clId="{1F3AB074-1CA6-4CF5-BBB1-A519ED1E2DF2}" dt="2021-12-19T13:32:29.347" v="287" actId="20577"/>
          <ac:spMkLst>
            <pc:docMk/>
            <pc:sldMk cId="2715760571" sldId="311"/>
            <ac:spMk id="208" creationId="{5B994944-A03C-4359-A908-BF6DED65B008}"/>
          </ac:spMkLst>
        </pc:spChg>
        <pc:spChg chg="mod">
          <ac:chgData name="Sandrine" userId="ad1decff-d2ce-4d29-9d90-3591b80bc438" providerId="ADAL" clId="{1F3AB074-1CA6-4CF5-BBB1-A519ED1E2DF2}" dt="2021-12-19T13:32:32.571" v="288" actId="20577"/>
          <ac:spMkLst>
            <pc:docMk/>
            <pc:sldMk cId="2715760571" sldId="311"/>
            <ac:spMk id="209" creationId="{A8B28EDB-6ED8-4579-8290-518176A683A6}"/>
          </ac:spMkLst>
        </pc:spChg>
        <pc:spChg chg="mod">
          <ac:chgData name="Sandrine" userId="ad1decff-d2ce-4d29-9d90-3591b80bc438" providerId="ADAL" clId="{1F3AB074-1CA6-4CF5-BBB1-A519ED1E2DF2}" dt="2021-12-19T13:32:35.921" v="289" actId="20577"/>
          <ac:spMkLst>
            <pc:docMk/>
            <pc:sldMk cId="2715760571" sldId="311"/>
            <ac:spMk id="210" creationId="{DAB6CB2B-E08A-4815-86A0-F45034590DC7}"/>
          </ac:spMkLst>
        </pc:spChg>
        <pc:spChg chg="mod">
          <ac:chgData name="Sandrine" userId="ad1decff-d2ce-4d29-9d90-3591b80bc438" providerId="ADAL" clId="{1F3AB074-1CA6-4CF5-BBB1-A519ED1E2DF2}" dt="2021-12-19T13:32:58.363" v="297" actId="20577"/>
          <ac:spMkLst>
            <pc:docMk/>
            <pc:sldMk cId="2715760571" sldId="311"/>
            <ac:spMk id="213" creationId="{437864A9-D6E5-48E0-AC22-8B1AC2C2796D}"/>
          </ac:spMkLst>
        </pc:spChg>
        <pc:spChg chg="mod">
          <ac:chgData name="Sandrine" userId="ad1decff-d2ce-4d29-9d90-3591b80bc438" providerId="ADAL" clId="{1F3AB074-1CA6-4CF5-BBB1-A519ED1E2DF2}" dt="2021-12-19T13:33:00.661" v="298" actId="20577"/>
          <ac:spMkLst>
            <pc:docMk/>
            <pc:sldMk cId="2715760571" sldId="311"/>
            <ac:spMk id="223" creationId="{28F45D01-126B-4D3B-8CA7-B7A4C3FC4C2C}"/>
          </ac:spMkLst>
        </pc:spChg>
        <pc:spChg chg="mod">
          <ac:chgData name="Sandrine" userId="ad1decff-d2ce-4d29-9d90-3591b80bc438" providerId="ADAL" clId="{1F3AB074-1CA6-4CF5-BBB1-A519ED1E2DF2}" dt="2021-12-19T13:32:49.461" v="294" actId="20577"/>
          <ac:spMkLst>
            <pc:docMk/>
            <pc:sldMk cId="2715760571" sldId="311"/>
            <ac:spMk id="230" creationId="{CF8826F4-867C-4AD5-9C44-1ADE6129DDD9}"/>
          </ac:spMkLst>
        </pc:spChg>
        <pc:spChg chg="mod">
          <ac:chgData name="Sandrine" userId="ad1decff-d2ce-4d29-9d90-3591b80bc438" providerId="ADAL" clId="{1F3AB074-1CA6-4CF5-BBB1-A519ED1E2DF2}" dt="2021-12-19T13:30:56.335" v="180" actId="1038"/>
          <ac:spMkLst>
            <pc:docMk/>
            <pc:sldMk cId="2715760571" sldId="311"/>
            <ac:spMk id="233" creationId="{724B377D-C72C-41E1-87C6-B1331121494C}"/>
          </ac:spMkLst>
        </pc:spChg>
        <pc:spChg chg="mod">
          <ac:chgData name="Sandrine" userId="ad1decff-d2ce-4d29-9d90-3591b80bc438" providerId="ADAL" clId="{1F3AB074-1CA6-4CF5-BBB1-A519ED1E2DF2}" dt="2021-12-19T13:23:27.245" v="57" actId="20577"/>
          <ac:spMkLst>
            <pc:docMk/>
            <pc:sldMk cId="2715760571" sldId="311"/>
            <ac:spMk id="261" creationId="{A10A4420-66C8-42DE-82D1-BEFFB2419C97}"/>
          </ac:spMkLst>
        </pc:spChg>
        <pc:spChg chg="mod">
          <ac:chgData name="Sandrine" userId="ad1decff-d2ce-4d29-9d90-3591b80bc438" providerId="ADAL" clId="{1F3AB074-1CA6-4CF5-BBB1-A519ED1E2DF2}" dt="2021-12-19T13:23:50.635" v="63" actId="20577"/>
          <ac:spMkLst>
            <pc:docMk/>
            <pc:sldMk cId="2715760571" sldId="311"/>
            <ac:spMk id="262" creationId="{37A8C09C-710F-48E5-AF07-424C5D583BDF}"/>
          </ac:spMkLst>
        </pc:spChg>
        <pc:spChg chg="mod">
          <ac:chgData name="Sandrine" userId="ad1decff-d2ce-4d29-9d90-3591b80bc438" providerId="ADAL" clId="{1F3AB074-1CA6-4CF5-BBB1-A519ED1E2DF2}" dt="2021-12-19T13:23:34.922" v="60" actId="20577"/>
          <ac:spMkLst>
            <pc:docMk/>
            <pc:sldMk cId="2715760571" sldId="311"/>
            <ac:spMk id="263" creationId="{54604176-CFA7-41D5-BE94-A3AE78B7F4C2}"/>
          </ac:spMkLst>
        </pc:spChg>
        <pc:spChg chg="mod">
          <ac:chgData name="Sandrine" userId="ad1decff-d2ce-4d29-9d90-3591b80bc438" providerId="ADAL" clId="{1F3AB074-1CA6-4CF5-BBB1-A519ED1E2DF2}" dt="2021-12-19T13:28:10.532" v="81" actId="20577"/>
          <ac:spMkLst>
            <pc:docMk/>
            <pc:sldMk cId="2715760571" sldId="311"/>
            <ac:spMk id="264" creationId="{E165D15C-4633-4830-B94D-6C1F5067BE22}"/>
          </ac:spMkLst>
        </pc:spChg>
        <pc:spChg chg="mod">
          <ac:chgData name="Sandrine" userId="ad1decff-d2ce-4d29-9d90-3591b80bc438" providerId="ADAL" clId="{1F3AB074-1CA6-4CF5-BBB1-A519ED1E2DF2}" dt="2021-12-19T12:52:15.740" v="25" actId="20577"/>
          <ac:spMkLst>
            <pc:docMk/>
            <pc:sldMk cId="2715760571" sldId="311"/>
            <ac:spMk id="587" creationId="{7FC2D976-FF61-496E-BC30-76433C060A8D}"/>
          </ac:spMkLst>
        </pc:spChg>
        <pc:grpChg chg="mod">
          <ac:chgData name="Sandrine" userId="ad1decff-d2ce-4d29-9d90-3591b80bc438" providerId="ADAL" clId="{1F3AB074-1CA6-4CF5-BBB1-A519ED1E2DF2}" dt="2021-12-19T13:31:14.728" v="281" actId="14100"/>
          <ac:grpSpMkLst>
            <pc:docMk/>
            <pc:sldMk cId="2715760571" sldId="311"/>
            <ac:grpSpMk id="23" creationId="{0D795AFA-2D29-4CAE-B26D-3434FEF16F46}"/>
          </ac:grpSpMkLst>
        </pc:grpChg>
        <pc:grpChg chg="add mod">
          <ac:chgData name="Sandrine" userId="ad1decff-d2ce-4d29-9d90-3591b80bc438" providerId="ADAL" clId="{1F3AB074-1CA6-4CF5-BBB1-A519ED1E2DF2}" dt="2021-12-19T13:33:20.407" v="303" actId="1076"/>
          <ac:grpSpMkLst>
            <pc:docMk/>
            <pc:sldMk cId="2715760571" sldId="311"/>
            <ac:grpSpMk id="182" creationId="{FCADB988-EE2C-4FDA-B90B-32204521228A}"/>
          </ac:grpSpMkLst>
        </pc:grpChg>
        <pc:grpChg chg="add mod">
          <ac:chgData name="Sandrine" userId="ad1decff-d2ce-4d29-9d90-3591b80bc438" providerId="ADAL" clId="{1F3AB074-1CA6-4CF5-BBB1-A519ED1E2DF2}" dt="2021-12-19T13:33:20.407" v="303" actId="1076"/>
          <ac:grpSpMkLst>
            <pc:docMk/>
            <pc:sldMk cId="2715760571" sldId="311"/>
            <ac:grpSpMk id="185" creationId="{41A45E38-7457-4553-8E7B-ABF65F326328}"/>
          </ac:grpSpMkLst>
        </pc:grpChg>
        <pc:grpChg chg="del">
          <ac:chgData name="Sandrine" userId="ad1decff-d2ce-4d29-9d90-3591b80bc438" providerId="ADAL" clId="{1F3AB074-1CA6-4CF5-BBB1-A519ED1E2DF2}" dt="2021-12-19T13:33:09.611" v="301" actId="478"/>
          <ac:grpSpMkLst>
            <pc:docMk/>
            <pc:sldMk cId="2715760571" sldId="311"/>
            <ac:grpSpMk id="229" creationId="{4678577A-595B-4BD2-BFDA-E3C55655BA28}"/>
          </ac:grpSpMkLst>
        </pc:grpChg>
        <pc:grpChg chg="del">
          <ac:chgData name="Sandrine" userId="ad1decff-d2ce-4d29-9d90-3591b80bc438" providerId="ADAL" clId="{1F3AB074-1CA6-4CF5-BBB1-A519ED1E2DF2}" dt="2021-12-19T13:33:07.392" v="300" actId="478"/>
          <ac:grpSpMkLst>
            <pc:docMk/>
            <pc:sldMk cId="2715760571" sldId="311"/>
            <ac:grpSpMk id="254" creationId="{36153FEC-DBF3-4B87-8626-601C30E4AAF3}"/>
          </ac:grpSpMkLst>
        </pc:grpChg>
        <pc:graphicFrameChg chg="add mod">
          <ac:chgData name="Sandrine" userId="ad1decff-d2ce-4d29-9d90-3591b80bc438" providerId="ADAL" clId="{1F3AB074-1CA6-4CF5-BBB1-A519ED1E2DF2}" dt="2021-12-19T13:38:28.864" v="356" actId="12789"/>
          <ac:graphicFrameMkLst>
            <pc:docMk/>
            <pc:sldMk cId="2715760571" sldId="311"/>
            <ac:graphicFrameMk id="193" creationId="{4A9F05B8-4C61-41AD-B6FE-012BC0EA6717}"/>
          </ac:graphicFrameMkLst>
        </pc:graphicFrameChg>
        <pc:graphicFrameChg chg="add mod">
          <ac:chgData name="Sandrine" userId="ad1decff-d2ce-4d29-9d90-3591b80bc438" providerId="ADAL" clId="{1F3AB074-1CA6-4CF5-BBB1-A519ED1E2DF2}" dt="2021-12-19T13:39:56.385" v="369"/>
          <ac:graphicFrameMkLst>
            <pc:docMk/>
            <pc:sldMk cId="2715760571" sldId="311"/>
            <ac:graphicFrameMk id="195" creationId="{2EFAD91C-BAC7-4F15-859B-7DC7BBC5D264}"/>
          </ac:graphicFrameMkLst>
        </pc:graphicFrameChg>
        <pc:graphicFrameChg chg="modGraphic">
          <ac:chgData name="Sandrine" userId="ad1decff-d2ce-4d29-9d90-3591b80bc438" providerId="ADAL" clId="{1F3AB074-1CA6-4CF5-BBB1-A519ED1E2DF2}" dt="2021-12-19T13:23:08.411" v="49" actId="20577"/>
          <ac:graphicFrameMkLst>
            <pc:docMk/>
            <pc:sldMk cId="2715760571" sldId="311"/>
            <ac:graphicFrameMk id="298" creationId="{D64DE84F-2B82-44CB-9B61-C15425C39929}"/>
          </ac:graphicFrameMkLst>
        </pc:graphicFrameChg>
        <pc:graphicFrameChg chg="modGraphic">
          <ac:chgData name="Sandrine" userId="ad1decff-d2ce-4d29-9d90-3591b80bc438" providerId="ADAL" clId="{1F3AB074-1CA6-4CF5-BBB1-A519ED1E2DF2}" dt="2021-12-19T13:23:14.398" v="52" actId="20577"/>
          <ac:graphicFrameMkLst>
            <pc:docMk/>
            <pc:sldMk cId="2715760571" sldId="311"/>
            <ac:graphicFrameMk id="299" creationId="{E6D899DD-271A-4BA2-B71A-FFD985AC4795}"/>
          </ac:graphicFrameMkLst>
        </pc:graphicFrameChg>
        <pc:graphicFrameChg chg="del">
          <ac:chgData name="Sandrine" userId="ad1decff-d2ce-4d29-9d90-3591b80bc438" providerId="ADAL" clId="{1F3AB074-1CA6-4CF5-BBB1-A519ED1E2DF2}" dt="2021-12-19T13:35:08.361" v="316" actId="478"/>
          <ac:graphicFrameMkLst>
            <pc:docMk/>
            <pc:sldMk cId="2715760571" sldId="311"/>
            <ac:graphicFrameMk id="305" creationId="{4A9F05B8-4C61-41AD-B6FE-012BC0EA6717}"/>
          </ac:graphicFrameMkLst>
        </pc:graphicFrameChg>
        <pc:graphicFrameChg chg="del">
          <ac:chgData name="Sandrine" userId="ad1decff-d2ce-4d29-9d90-3591b80bc438" providerId="ADAL" clId="{1F3AB074-1CA6-4CF5-BBB1-A519ED1E2DF2}" dt="2021-12-19T13:37:47.308" v="342" actId="478"/>
          <ac:graphicFrameMkLst>
            <pc:docMk/>
            <pc:sldMk cId="2715760571" sldId="311"/>
            <ac:graphicFrameMk id="306" creationId="{2EFAD91C-BAC7-4F15-859B-7DC7BBC5D264}"/>
          </ac:graphicFrameMkLst>
        </pc:graphicFrameChg>
        <pc:graphicFrameChg chg="mod">
          <ac:chgData name="Sandrine" userId="ad1decff-d2ce-4d29-9d90-3591b80bc438" providerId="ADAL" clId="{1F3AB074-1CA6-4CF5-BBB1-A519ED1E2DF2}" dt="2021-12-19T13:27:35.220" v="79"/>
          <ac:graphicFrameMkLst>
            <pc:docMk/>
            <pc:sldMk cId="2715760571" sldId="311"/>
            <ac:graphicFrameMk id="307" creationId="{FF304146-B410-4690-82CE-B49E1CA7529E}"/>
          </ac:graphicFrameMkLst>
        </pc:graphicFrameChg>
        <pc:cxnChg chg="mod ord">
          <ac:chgData name="Sandrine" userId="ad1decff-d2ce-4d29-9d90-3591b80bc438" providerId="ADAL" clId="{1F3AB074-1CA6-4CF5-BBB1-A519ED1E2DF2}" dt="2021-12-19T13:35:46.527" v="324" actId="1037"/>
          <ac:cxnSpMkLst>
            <pc:docMk/>
            <pc:sldMk cId="2715760571" sldId="311"/>
            <ac:cxnSpMk id="7" creationId="{62A22F70-FB03-456A-83CB-014703592A3E}"/>
          </ac:cxnSpMkLst>
        </pc:cxnChg>
        <pc:cxnChg chg="mod">
          <ac:chgData name="Sandrine" userId="ad1decff-d2ce-4d29-9d90-3591b80bc438" providerId="ADAL" clId="{1F3AB074-1CA6-4CF5-BBB1-A519ED1E2DF2}" dt="2021-12-19T13:33:14.380" v="302"/>
          <ac:cxnSpMkLst>
            <pc:docMk/>
            <pc:sldMk cId="2715760571" sldId="311"/>
            <ac:cxnSpMk id="184" creationId="{A5CA61FC-C6D0-4B92-A676-CE3D47759221}"/>
          </ac:cxnSpMkLst>
        </pc:cxnChg>
        <pc:cxnChg chg="mod">
          <ac:chgData name="Sandrine" userId="ad1decff-d2ce-4d29-9d90-3591b80bc438" providerId="ADAL" clId="{1F3AB074-1CA6-4CF5-BBB1-A519ED1E2DF2}" dt="2021-12-19T13:33:14.380" v="302"/>
          <ac:cxnSpMkLst>
            <pc:docMk/>
            <pc:sldMk cId="2715760571" sldId="311"/>
            <ac:cxnSpMk id="188" creationId="{75C3EF45-F4D8-44DE-B843-0EDE231854DC}"/>
          </ac:cxnSpMkLst>
        </pc:cxnChg>
        <pc:cxnChg chg="mod">
          <ac:chgData name="Sandrine" userId="ad1decff-d2ce-4d29-9d90-3591b80bc438" providerId="ADAL" clId="{1F3AB074-1CA6-4CF5-BBB1-A519ED1E2DF2}" dt="2021-12-19T13:30:42.195" v="125" actId="14100"/>
          <ac:cxnSpMkLst>
            <pc:docMk/>
            <pc:sldMk cId="2715760571" sldId="311"/>
            <ac:cxnSpMk id="234" creationId="{FC4E85DB-0484-4A71-87F1-67F87994B7D1}"/>
          </ac:cxnSpMkLst>
        </pc:cxnChg>
        <pc:cxnChg chg="ord">
          <ac:chgData name="Sandrine" userId="ad1decff-d2ce-4d29-9d90-3591b80bc438" providerId="ADAL" clId="{1F3AB074-1CA6-4CF5-BBB1-A519ED1E2DF2}" dt="2021-12-19T13:38:56.139" v="360" actId="166"/>
          <ac:cxnSpMkLst>
            <pc:docMk/>
            <pc:sldMk cId="2715760571" sldId="311"/>
            <ac:cxnSpMk id="279" creationId="{96EB7270-1670-4F9D-A817-68DA75900D78}"/>
          </ac:cxnSpMkLst>
        </pc:cxnChg>
      </pc:sldChg>
      <pc:sldChg chg="modSp add mod">
        <pc:chgData name="Sandrine" userId="ad1decff-d2ce-4d29-9d90-3591b80bc438" providerId="ADAL" clId="{1F3AB074-1CA6-4CF5-BBB1-A519ED1E2DF2}" dt="2021-12-19T13:45:05.885" v="437"/>
        <pc:sldMkLst>
          <pc:docMk/>
          <pc:sldMk cId="1196482133" sldId="312"/>
        </pc:sldMkLst>
        <pc:graphicFrameChg chg="mod">
          <ac:chgData name="Sandrine" userId="ad1decff-d2ce-4d29-9d90-3591b80bc438" providerId="ADAL" clId="{1F3AB074-1CA6-4CF5-BBB1-A519ED1E2DF2}" dt="2021-12-19T13:45:05.885" v="437"/>
          <ac:graphicFrameMkLst>
            <pc:docMk/>
            <pc:sldMk cId="1196482133" sldId="312"/>
            <ac:graphicFrameMk id="131" creationId="{9E7DBEBF-2C00-4621-960D-DA804596E300}"/>
          </ac:graphicFrameMkLst>
        </pc:graphicFrameChg>
        <pc:graphicFrameChg chg="mod">
          <ac:chgData name="Sandrine" userId="ad1decff-d2ce-4d29-9d90-3591b80bc438" providerId="ADAL" clId="{1F3AB074-1CA6-4CF5-BBB1-A519ED1E2DF2}" dt="2021-12-19T13:44:55.962" v="436"/>
          <ac:graphicFrameMkLst>
            <pc:docMk/>
            <pc:sldMk cId="1196482133" sldId="312"/>
            <ac:graphicFrameMk id="142" creationId="{1070B301-6C72-45DD-9958-E8B8F5BEF4C8}"/>
          </ac:graphicFrameMkLst>
        </pc:graphicFrameChg>
      </pc:sldChg>
      <pc:sldChg chg="add ord">
        <pc:chgData name="Sandrine" userId="ad1decff-d2ce-4d29-9d90-3591b80bc438" providerId="ADAL" clId="{1F3AB074-1CA6-4CF5-BBB1-A519ED1E2DF2}" dt="2021-12-19T12:53:26.836" v="29"/>
        <pc:sldMkLst>
          <pc:docMk/>
          <pc:sldMk cId="3712258178" sldId="313"/>
        </pc:sldMkLst>
      </pc:sldChg>
    </pc:docChg>
  </pc:docChgLst>
  <pc:docChgLst>
    <pc:chgData name="PROVENCHERE Sandrine" userId="ad1decff-d2ce-4d29-9d90-3591b80bc438" providerId="ADAL" clId="{F713559D-6231-4AA8-B5E5-9167EB10A6E7}"/>
    <pc:docChg chg="custSel modSld">
      <pc:chgData name="PROVENCHERE Sandrine" userId="ad1decff-d2ce-4d29-9d90-3591b80bc438" providerId="ADAL" clId="{F713559D-6231-4AA8-B5E5-9167EB10A6E7}" dt="2022-01-12T08:57:17.802" v="3" actId="1076"/>
      <pc:docMkLst>
        <pc:docMk/>
      </pc:docMkLst>
      <pc:sldChg chg="delSp mod">
        <pc:chgData name="PROVENCHERE Sandrine" userId="ad1decff-d2ce-4d29-9d90-3591b80bc438" providerId="ADAL" clId="{F713559D-6231-4AA8-B5E5-9167EB10A6E7}" dt="2022-01-06T14:48:50.733" v="0" actId="21"/>
        <pc:sldMkLst>
          <pc:docMk/>
          <pc:sldMk cId="3786029249" sldId="306"/>
        </pc:sldMkLst>
        <pc:spChg chg="del">
          <ac:chgData name="PROVENCHERE Sandrine" userId="ad1decff-d2ce-4d29-9d90-3591b80bc438" providerId="ADAL" clId="{F713559D-6231-4AA8-B5E5-9167EB10A6E7}" dt="2022-01-06T14:48:50.733" v="0" actId="21"/>
          <ac:spMkLst>
            <pc:docMk/>
            <pc:sldMk cId="3786029249" sldId="306"/>
            <ac:spMk id="17" creationId="{17A54928-8ADB-4B10-900E-B3726C991048}"/>
          </ac:spMkLst>
        </pc:spChg>
      </pc:sldChg>
      <pc:sldChg chg="modSp">
        <pc:chgData name="PROVENCHERE Sandrine" userId="ad1decff-d2ce-4d29-9d90-3591b80bc438" providerId="ADAL" clId="{F713559D-6231-4AA8-B5E5-9167EB10A6E7}" dt="2022-01-12T08:57:17.802" v="3" actId="1076"/>
        <pc:sldMkLst>
          <pc:docMk/>
          <pc:sldMk cId="2715760571" sldId="311"/>
        </pc:sldMkLst>
        <pc:spChg chg="mod">
          <ac:chgData name="PROVENCHERE Sandrine" userId="ad1decff-d2ce-4d29-9d90-3591b80bc438" providerId="ADAL" clId="{F713559D-6231-4AA8-B5E5-9167EB10A6E7}" dt="2022-01-12T08:57:17.802" v="3" actId="1076"/>
          <ac:spMkLst>
            <pc:docMk/>
            <pc:sldMk cId="2715760571" sldId="311"/>
            <ac:spMk id="2" creationId="{E59813E8-231E-45DF-B016-5912DEAE3F46}"/>
          </ac:spMkLst>
        </pc:spChg>
      </pc:sldChg>
      <pc:sldChg chg="addSp delSp modSp">
        <pc:chgData name="PROVENCHERE Sandrine" userId="ad1decff-d2ce-4d29-9d90-3591b80bc438" providerId="ADAL" clId="{F713559D-6231-4AA8-B5E5-9167EB10A6E7}" dt="2022-01-06T14:54:24.971" v="2" actId="21"/>
        <pc:sldMkLst>
          <pc:docMk/>
          <pc:sldMk cId="1196482133" sldId="312"/>
        </pc:sldMkLst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56" creationId="{2DEBE9AA-F9D1-411E-B899-F3C41489CDE7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57" creationId="{C42D4E21-46A4-49CE-BBB0-175EEFE4A484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59" creationId="{A120CC13-7AC0-4EB9-9C29-89FDE3932B25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60" creationId="{F35EB759-B299-46C8-997C-ADC9FD24DB30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61" creationId="{4BC1E174-0F5F-4AFE-8FC9-0919DAFA5A71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62" creationId="{41A364FF-294A-4A0A-ACD0-5B7169C09011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63" creationId="{4F4E1B61-F628-4F76-BD59-933DA8809C06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64" creationId="{8BD240C1-D1A2-402A-95CA-B3A041E9C797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65" creationId="{E04F8C7B-04A6-4B7F-AB34-6079AA052E2B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66" creationId="{5ED8998F-1EA8-4E60-BCD2-A4CE915F0DE7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68" creationId="{4B930F55-91A5-4B9F-8A8E-6D2FB2417132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69" creationId="{4CACA924-1BEA-44C0-81C3-8145D27DF288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70" creationId="{A45D987E-8728-4D93-9ED5-F53C1E1B5B5D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72" creationId="{0CF71B4F-668E-49EE-B331-E051FA2973AB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73" creationId="{18A90B05-3C29-4DF7-B60F-8FE2C0817885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74" creationId="{BC329A09-4BD6-4764-BF01-3746C70549CD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75" creationId="{C9F30D94-2EFF-4411-B661-9F95C4D34893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76" creationId="{5395BC66-CD8B-4EFE-8FC0-A5063ADE29F5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77" creationId="{A2FED2A4-0D62-4CDC-9EBC-94EA8C5C7620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78" creationId="{CFDE5771-965D-40D8-B5F1-014BFEB46F85}"/>
          </ac:spMkLst>
        </pc:spChg>
        <pc:spChg chg="add del mod">
          <ac:chgData name="PROVENCHERE Sandrine" userId="ad1decff-d2ce-4d29-9d90-3591b80bc438" providerId="ADAL" clId="{F713559D-6231-4AA8-B5E5-9167EB10A6E7}" dt="2022-01-06T14:54:24.971" v="2" actId="21"/>
          <ac:spMkLst>
            <pc:docMk/>
            <pc:sldMk cId="1196482133" sldId="312"/>
            <ac:spMk id="79" creationId="{2B13F8A3-F82E-46D9-8633-3920E666BFB8}"/>
          </ac:spMkLst>
        </pc:spChg>
        <pc:graphicFrameChg chg="add del mod">
          <ac:chgData name="PROVENCHERE Sandrine" userId="ad1decff-d2ce-4d29-9d90-3591b80bc438" providerId="ADAL" clId="{F713559D-6231-4AA8-B5E5-9167EB10A6E7}" dt="2022-01-06T14:54:24.971" v="2" actId="21"/>
          <ac:graphicFrameMkLst>
            <pc:docMk/>
            <pc:sldMk cId="1196482133" sldId="312"/>
            <ac:graphicFrameMk id="58" creationId="{5D3615BC-1D32-4231-8D0B-17414DE634A6}"/>
          </ac:graphicFrameMkLst>
        </pc:graphicFrameChg>
        <pc:graphicFrameChg chg="add del mod">
          <ac:chgData name="PROVENCHERE Sandrine" userId="ad1decff-d2ce-4d29-9d90-3591b80bc438" providerId="ADAL" clId="{F713559D-6231-4AA8-B5E5-9167EB10A6E7}" dt="2022-01-06T14:54:24.971" v="2" actId="21"/>
          <ac:graphicFrameMkLst>
            <pc:docMk/>
            <pc:sldMk cId="1196482133" sldId="312"/>
            <ac:graphicFrameMk id="67" creationId="{7CA86438-3366-4B7E-A6B2-94AA910DE06A}"/>
          </ac:graphicFrameMkLst>
        </pc:graphicFrameChg>
        <pc:picChg chg="add del mod">
          <ac:chgData name="PROVENCHERE Sandrine" userId="ad1decff-d2ce-4d29-9d90-3591b80bc438" providerId="ADAL" clId="{F713559D-6231-4AA8-B5E5-9167EB10A6E7}" dt="2022-01-06T14:54:24.971" v="2" actId="21"/>
          <ac:picMkLst>
            <pc:docMk/>
            <pc:sldMk cId="1196482133" sldId="312"/>
            <ac:picMk id="80" creationId="{ECACEBE5-E122-4BF2-BA2A-FCD49F566789}"/>
          </ac:picMkLst>
        </pc:picChg>
        <pc:picChg chg="add del mod">
          <ac:chgData name="PROVENCHERE Sandrine" userId="ad1decff-d2ce-4d29-9d90-3591b80bc438" providerId="ADAL" clId="{F713559D-6231-4AA8-B5E5-9167EB10A6E7}" dt="2022-01-06T14:54:24.971" v="2" actId="21"/>
          <ac:picMkLst>
            <pc:docMk/>
            <pc:sldMk cId="1196482133" sldId="312"/>
            <ac:picMk id="81" creationId="{0991ACD0-3522-4AFE-B855-826D13A453A5}"/>
          </ac:picMkLst>
        </pc:picChg>
        <pc:cxnChg chg="add del mod">
          <ac:chgData name="PROVENCHERE Sandrine" userId="ad1decff-d2ce-4d29-9d90-3591b80bc438" providerId="ADAL" clId="{F713559D-6231-4AA8-B5E5-9167EB10A6E7}" dt="2022-01-06T14:54:24.971" v="2" actId="21"/>
          <ac:cxnSpMkLst>
            <pc:docMk/>
            <pc:sldMk cId="1196482133" sldId="312"/>
            <ac:cxnSpMk id="82" creationId="{D0C0BB4A-5342-4DD2-B41F-47564F825493}"/>
          </ac:cxnSpMkLst>
        </pc:cxnChg>
        <pc:cxnChg chg="add del mod">
          <ac:chgData name="PROVENCHERE Sandrine" userId="ad1decff-d2ce-4d29-9d90-3591b80bc438" providerId="ADAL" clId="{F713559D-6231-4AA8-B5E5-9167EB10A6E7}" dt="2022-01-06T14:54:24.971" v="2" actId="21"/>
          <ac:cxnSpMkLst>
            <pc:docMk/>
            <pc:sldMk cId="1196482133" sldId="312"/>
            <ac:cxnSpMk id="83" creationId="{FF369875-AA62-42C1-8F42-769993A4954C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erametgroup-my.sharepoint.com/personal/sandrine_provenchere_eramet_com/Documents/06_DASHBOARD/Dashboard-Suivi-Mensuel-Aero/DASHBOARD/FlotteAero_Activit&#233;Mensuell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erametgroup-my.sharepoint.com/personal/sandrine_provenchere_eramet_com/Documents/06_DASHBOARD/Dashboard-Suivi-Mensuel-Aero/DASHBOARD/2022/number-of-commercial-flight_2022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erametgroup-my.sharepoint.com/personal/sandrine_provenchere_eramet_com/Documents/06_DASHBOARD/Dashboard-Suivi-Mensuel-Aero/DASHBOARD/2022/2022_Dashboard_march&#233;-AER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erametgroup-my.sharepoint.com/personal/sandrine_provenchere_eramet_com/Documents/06_DASHBOARD/Dashboard-Suivi-Mensuel-Aero/DASHBOARD/2022/2022_Dashboard_march&#233;-AER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01,22'!$B$2</c:f>
              <c:strCache>
                <c:ptCount val="1"/>
                <c:pt idx="0">
                  <c:v>Active</c:v>
                </c:pt>
              </c:strCache>
            </c:strRef>
          </c:tx>
          <c:spPr>
            <a:solidFill>
              <a:srgbClr val="9396B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01,22'!$A$3:$A$6</c:f>
              <c:strCache>
                <c:ptCount val="4"/>
                <c:pt idx="0">
                  <c:v>Narrow-body</c:v>
                </c:pt>
                <c:pt idx="1">
                  <c:v>Wide-body</c:v>
                </c:pt>
                <c:pt idx="2">
                  <c:v>Regional Jet</c:v>
                </c:pt>
                <c:pt idx="3">
                  <c:v>Regional Turboprop</c:v>
                </c:pt>
              </c:strCache>
            </c:strRef>
          </c:cat>
          <c:val>
            <c:numRef>
              <c:f>'01,22'!$B$3:$B$6</c:f>
              <c:numCache>
                <c:formatCode>0%</c:formatCode>
                <c:ptCount val="4"/>
                <c:pt idx="0">
                  <c:v>0.72</c:v>
                </c:pt>
                <c:pt idx="1">
                  <c:v>0.62</c:v>
                </c:pt>
                <c:pt idx="2">
                  <c:v>0.57999999999999996</c:v>
                </c:pt>
                <c:pt idx="3">
                  <c:v>0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FE-4748-B7B3-373159DF2822}"/>
            </c:ext>
          </c:extLst>
        </c:ser>
        <c:ser>
          <c:idx val="1"/>
          <c:order val="1"/>
          <c:tx>
            <c:strRef>
              <c:f>'01,22'!$C$2</c:f>
              <c:strCache>
                <c:ptCount val="1"/>
                <c:pt idx="0">
                  <c:v>Ground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01,22'!$A$3:$A$6</c:f>
              <c:strCache>
                <c:ptCount val="4"/>
                <c:pt idx="0">
                  <c:v>Narrow-body</c:v>
                </c:pt>
                <c:pt idx="1">
                  <c:v>Wide-body</c:v>
                </c:pt>
                <c:pt idx="2">
                  <c:v>Regional Jet</c:v>
                </c:pt>
                <c:pt idx="3">
                  <c:v>Regional Turboprop</c:v>
                </c:pt>
              </c:strCache>
            </c:strRef>
          </c:cat>
          <c:val>
            <c:numRef>
              <c:f>'01,22'!$C$3:$C$6</c:f>
              <c:numCache>
                <c:formatCode>0%</c:formatCode>
                <c:ptCount val="4"/>
                <c:pt idx="0">
                  <c:v>0.28000000000000003</c:v>
                </c:pt>
                <c:pt idx="1">
                  <c:v>0.38</c:v>
                </c:pt>
                <c:pt idx="2">
                  <c:v>0.42</c:v>
                </c:pt>
                <c:pt idx="3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FE-4748-B7B3-373159DF282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77310816"/>
        <c:axId val="877305896"/>
      </c:barChart>
      <c:catAx>
        <c:axId val="877310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877305896"/>
        <c:crosses val="autoZero"/>
        <c:auto val="1"/>
        <c:lblAlgn val="ctr"/>
        <c:lblOffset val="100"/>
        <c:noMultiLvlLbl val="0"/>
      </c:catAx>
      <c:valAx>
        <c:axId val="877305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877310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2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2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fr-F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036036036036036E-2"/>
          <c:y val="3.6061026352288486E-2"/>
          <c:w val="0.86832986832986836"/>
          <c:h val="0.92787794729542306"/>
        </c:manualLayout>
      </c:layout>
      <c:barChart>
        <c:barDir val="bar"/>
        <c:grouping val="clustered"/>
        <c:varyColors val="0"/>
        <c:ser>
          <c:idx val="0"/>
          <c:order val="0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331254331254331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85D-4029-A125-4B5322C2648C}"/>
                </c:ext>
              </c:extLst>
            </c:dLbl>
            <c:dLbl>
              <c:idx val="2"/>
              <c:layout>
                <c:manualLayout>
                  <c:x val="7.8309078309078309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85D-4029-A125-4B5322C2648C}"/>
                </c:ext>
              </c:extLst>
            </c:dLbl>
            <c:dLbl>
              <c:idx val="3"/>
              <c:layout>
                <c:manualLayout>
                  <c:x val="4.6431046431046431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85D-4029-A125-4B5322C2648C}"/>
                </c:ext>
              </c:extLst>
            </c:dLbl>
            <c:dLbl>
              <c:idx val="5"/>
              <c:layout>
                <c:manualLayout>
                  <c:x val="4.6431046431046431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85D-4029-A125-4B5322C264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4</c:v>
                </c:pt>
                <c:pt idx="1">
                  <c:v>0.5</c:v>
                </c:pt>
                <c:pt idx="2">
                  <c:v>3</c:v>
                </c:pt>
                <c:pt idx="3">
                  <c:v>2</c:v>
                </c:pt>
                <c:pt idx="4">
                  <c:v>0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85D-4029-A125-4B5322C2648C}"/>
            </c:ext>
          </c:extLst>
        </c:ser>
        <c:ser>
          <c:idx val="1"/>
          <c:order val="1"/>
          <c:spPr>
            <a:solidFill>
              <a:srgbClr val="44546A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85D-4029-A125-4B5322C2648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385D-4029-A125-4B5322C2648C}"/>
              </c:ext>
            </c:extLst>
          </c:dPt>
          <c:dLbls>
            <c:dLbl>
              <c:idx val="0"/>
              <c:layout>
                <c:manualLayout>
                  <c:x val="0.480942480942480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85D-4029-A125-4B5322C2648C}"/>
                </c:ext>
              </c:extLst>
            </c:dLbl>
            <c:dLbl>
              <c:idx val="2"/>
              <c:layout>
                <c:manualLayout>
                  <c:x val="7.8309078309078309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85D-4029-A125-4B5322C2648C}"/>
                </c:ext>
              </c:extLst>
            </c:dLbl>
            <c:dLbl>
              <c:idx val="3"/>
              <c:layout>
                <c:manualLayout>
                  <c:x val="1.386001386001386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85D-4029-A125-4B5322C2648C}"/>
                </c:ext>
              </c:extLst>
            </c:dLbl>
            <c:dLbl>
              <c:idx val="5"/>
              <c:layout>
                <c:manualLayout>
                  <c:x val="4.6431046431046431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85D-4029-A125-4B5322C264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27</c:v>
                </c:pt>
                <c:pt idx="1">
                  <c:v>0.5</c:v>
                </c:pt>
                <c:pt idx="2">
                  <c:v>3</c:v>
                </c:pt>
                <c:pt idx="3">
                  <c:v>1</c:v>
                </c:pt>
                <c:pt idx="4">
                  <c:v>0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85D-4029-A125-4B5322C264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97612968"/>
        <c:axId val="1"/>
      </c:barChart>
      <c:catAx>
        <c:axId val="149761296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976129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Ark1'!$B$2</c:f>
              <c:strCache>
                <c:ptCount val="1"/>
                <c:pt idx="0">
                  <c:v>2022 7-day moving average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Ark1'!$A$3:$A$367</c:f>
              <c:numCache>
                <c:formatCode>[$-40C]d\-mmm;@</c:formatCode>
                <c:ptCount val="365"/>
                <c:pt idx="0">
                  <c:v>43831</c:v>
                </c:pt>
                <c:pt idx="1">
                  <c:v>43832</c:v>
                </c:pt>
                <c:pt idx="2">
                  <c:v>43833</c:v>
                </c:pt>
                <c:pt idx="3">
                  <c:v>43834</c:v>
                </c:pt>
                <c:pt idx="4">
                  <c:v>43835</c:v>
                </c:pt>
                <c:pt idx="5">
                  <c:v>43836</c:v>
                </c:pt>
                <c:pt idx="6">
                  <c:v>43837</c:v>
                </c:pt>
                <c:pt idx="7">
                  <c:v>43838</c:v>
                </c:pt>
                <c:pt idx="8">
                  <c:v>43839</c:v>
                </c:pt>
                <c:pt idx="9">
                  <c:v>43840</c:v>
                </c:pt>
                <c:pt idx="10">
                  <c:v>43841</c:v>
                </c:pt>
                <c:pt idx="11">
                  <c:v>43842</c:v>
                </c:pt>
                <c:pt idx="12">
                  <c:v>43843</c:v>
                </c:pt>
                <c:pt idx="13">
                  <c:v>43844</c:v>
                </c:pt>
                <c:pt idx="14">
                  <c:v>43845</c:v>
                </c:pt>
                <c:pt idx="15">
                  <c:v>43846</c:v>
                </c:pt>
                <c:pt idx="16">
                  <c:v>43847</c:v>
                </c:pt>
                <c:pt idx="17">
                  <c:v>43848</c:v>
                </c:pt>
                <c:pt idx="18">
                  <c:v>43849</c:v>
                </c:pt>
                <c:pt idx="19">
                  <c:v>43850</c:v>
                </c:pt>
                <c:pt idx="20">
                  <c:v>43851</c:v>
                </c:pt>
                <c:pt idx="21">
                  <c:v>43852</c:v>
                </c:pt>
                <c:pt idx="22">
                  <c:v>43853</c:v>
                </c:pt>
                <c:pt idx="23">
                  <c:v>43854</c:v>
                </c:pt>
                <c:pt idx="24">
                  <c:v>43855</c:v>
                </c:pt>
                <c:pt idx="25">
                  <c:v>43856</c:v>
                </c:pt>
                <c:pt idx="26">
                  <c:v>43857</c:v>
                </c:pt>
                <c:pt idx="27">
                  <c:v>43858</c:v>
                </c:pt>
                <c:pt idx="28">
                  <c:v>43859</c:v>
                </c:pt>
                <c:pt idx="29">
                  <c:v>43860</c:v>
                </c:pt>
                <c:pt idx="30">
                  <c:v>43861</c:v>
                </c:pt>
                <c:pt idx="31">
                  <c:v>43862</c:v>
                </c:pt>
                <c:pt idx="32">
                  <c:v>43863</c:v>
                </c:pt>
                <c:pt idx="33">
                  <c:v>43864</c:v>
                </c:pt>
                <c:pt idx="34">
                  <c:v>43865</c:v>
                </c:pt>
                <c:pt idx="35">
                  <c:v>43866</c:v>
                </c:pt>
                <c:pt idx="36">
                  <c:v>43867</c:v>
                </c:pt>
                <c:pt idx="37">
                  <c:v>43868</c:v>
                </c:pt>
                <c:pt idx="38">
                  <c:v>43869</c:v>
                </c:pt>
                <c:pt idx="39">
                  <c:v>43870</c:v>
                </c:pt>
                <c:pt idx="40">
                  <c:v>43871</c:v>
                </c:pt>
                <c:pt idx="41">
                  <c:v>43872</c:v>
                </c:pt>
                <c:pt idx="42">
                  <c:v>43873</c:v>
                </c:pt>
                <c:pt idx="43">
                  <c:v>43874</c:v>
                </c:pt>
                <c:pt idx="44">
                  <c:v>43875</c:v>
                </c:pt>
                <c:pt idx="45">
                  <c:v>43876</c:v>
                </c:pt>
                <c:pt idx="46">
                  <c:v>43877</c:v>
                </c:pt>
                <c:pt idx="47">
                  <c:v>43878</c:v>
                </c:pt>
                <c:pt idx="48">
                  <c:v>43879</c:v>
                </c:pt>
                <c:pt idx="49">
                  <c:v>43880</c:v>
                </c:pt>
                <c:pt idx="50">
                  <c:v>43881</c:v>
                </c:pt>
                <c:pt idx="51">
                  <c:v>43882</c:v>
                </c:pt>
                <c:pt idx="52">
                  <c:v>43883</c:v>
                </c:pt>
                <c:pt idx="53">
                  <c:v>43884</c:v>
                </c:pt>
                <c:pt idx="54">
                  <c:v>43885</c:v>
                </c:pt>
                <c:pt idx="55">
                  <c:v>43886</c:v>
                </c:pt>
                <c:pt idx="56">
                  <c:v>43887</c:v>
                </c:pt>
                <c:pt idx="57">
                  <c:v>43888</c:v>
                </c:pt>
                <c:pt idx="58">
                  <c:v>43889</c:v>
                </c:pt>
                <c:pt idx="59">
                  <c:v>43891</c:v>
                </c:pt>
                <c:pt idx="60">
                  <c:v>43892</c:v>
                </c:pt>
                <c:pt idx="61">
                  <c:v>43893</c:v>
                </c:pt>
                <c:pt idx="62">
                  <c:v>43894</c:v>
                </c:pt>
                <c:pt idx="63">
                  <c:v>43895</c:v>
                </c:pt>
                <c:pt idx="64">
                  <c:v>43896</c:v>
                </c:pt>
                <c:pt idx="65">
                  <c:v>43897</c:v>
                </c:pt>
                <c:pt idx="66">
                  <c:v>43898</c:v>
                </c:pt>
                <c:pt idx="67">
                  <c:v>43899</c:v>
                </c:pt>
                <c:pt idx="68">
                  <c:v>43900</c:v>
                </c:pt>
                <c:pt idx="69">
                  <c:v>43901</c:v>
                </c:pt>
                <c:pt idx="70">
                  <c:v>43902</c:v>
                </c:pt>
                <c:pt idx="71">
                  <c:v>43903</c:v>
                </c:pt>
                <c:pt idx="72">
                  <c:v>43904</c:v>
                </c:pt>
                <c:pt idx="73">
                  <c:v>43905</c:v>
                </c:pt>
                <c:pt idx="74">
                  <c:v>43906</c:v>
                </c:pt>
                <c:pt idx="75">
                  <c:v>43907</c:v>
                </c:pt>
                <c:pt idx="76">
                  <c:v>43908</c:v>
                </c:pt>
                <c:pt idx="77">
                  <c:v>43909</c:v>
                </c:pt>
                <c:pt idx="78">
                  <c:v>43910</c:v>
                </c:pt>
                <c:pt idx="79">
                  <c:v>43911</c:v>
                </c:pt>
                <c:pt idx="80">
                  <c:v>43912</c:v>
                </c:pt>
                <c:pt idx="81">
                  <c:v>43913</c:v>
                </c:pt>
                <c:pt idx="82">
                  <c:v>43914</c:v>
                </c:pt>
                <c:pt idx="83">
                  <c:v>43915</c:v>
                </c:pt>
                <c:pt idx="84">
                  <c:v>43916</c:v>
                </c:pt>
                <c:pt idx="85">
                  <c:v>43917</c:v>
                </c:pt>
                <c:pt idx="86">
                  <c:v>43918</c:v>
                </c:pt>
                <c:pt idx="87">
                  <c:v>43919</c:v>
                </c:pt>
                <c:pt idx="88">
                  <c:v>43920</c:v>
                </c:pt>
                <c:pt idx="89">
                  <c:v>43921</c:v>
                </c:pt>
                <c:pt idx="90">
                  <c:v>43922</c:v>
                </c:pt>
                <c:pt idx="91">
                  <c:v>43923</c:v>
                </c:pt>
                <c:pt idx="92">
                  <c:v>43924</c:v>
                </c:pt>
                <c:pt idx="93">
                  <c:v>43925</c:v>
                </c:pt>
                <c:pt idx="94">
                  <c:v>43926</c:v>
                </c:pt>
                <c:pt idx="95">
                  <c:v>43927</c:v>
                </c:pt>
                <c:pt idx="96">
                  <c:v>43928</c:v>
                </c:pt>
                <c:pt idx="97">
                  <c:v>43929</c:v>
                </c:pt>
                <c:pt idx="98">
                  <c:v>43930</c:v>
                </c:pt>
                <c:pt idx="99">
                  <c:v>43931</c:v>
                </c:pt>
                <c:pt idx="100">
                  <c:v>43932</c:v>
                </c:pt>
                <c:pt idx="101">
                  <c:v>43933</c:v>
                </c:pt>
                <c:pt idx="102">
                  <c:v>43934</c:v>
                </c:pt>
                <c:pt idx="103">
                  <c:v>43935</c:v>
                </c:pt>
                <c:pt idx="104">
                  <c:v>43936</c:v>
                </c:pt>
                <c:pt idx="105">
                  <c:v>43937</c:v>
                </c:pt>
                <c:pt idx="106">
                  <c:v>43938</c:v>
                </c:pt>
                <c:pt idx="107">
                  <c:v>43939</c:v>
                </c:pt>
                <c:pt idx="108">
                  <c:v>43940</c:v>
                </c:pt>
                <c:pt idx="109">
                  <c:v>43941</c:v>
                </c:pt>
                <c:pt idx="110">
                  <c:v>43942</c:v>
                </c:pt>
                <c:pt idx="111">
                  <c:v>43943</c:v>
                </c:pt>
                <c:pt idx="112">
                  <c:v>43944</c:v>
                </c:pt>
                <c:pt idx="113">
                  <c:v>43945</c:v>
                </c:pt>
                <c:pt idx="114">
                  <c:v>43946</c:v>
                </c:pt>
                <c:pt idx="115">
                  <c:v>43947</c:v>
                </c:pt>
                <c:pt idx="116">
                  <c:v>43948</c:v>
                </c:pt>
                <c:pt idx="117">
                  <c:v>43949</c:v>
                </c:pt>
                <c:pt idx="118">
                  <c:v>43950</c:v>
                </c:pt>
                <c:pt idx="119">
                  <c:v>43951</c:v>
                </c:pt>
                <c:pt idx="120">
                  <c:v>43952</c:v>
                </c:pt>
                <c:pt idx="121">
                  <c:v>43953</c:v>
                </c:pt>
                <c:pt idx="122">
                  <c:v>43954</c:v>
                </c:pt>
                <c:pt idx="123">
                  <c:v>43955</c:v>
                </c:pt>
                <c:pt idx="124">
                  <c:v>43956</c:v>
                </c:pt>
                <c:pt idx="125">
                  <c:v>43957</c:v>
                </c:pt>
                <c:pt idx="126">
                  <c:v>43958</c:v>
                </c:pt>
                <c:pt idx="127">
                  <c:v>43959</c:v>
                </c:pt>
                <c:pt idx="128">
                  <c:v>43960</c:v>
                </c:pt>
                <c:pt idx="129">
                  <c:v>43961</c:v>
                </c:pt>
                <c:pt idx="130">
                  <c:v>43962</c:v>
                </c:pt>
                <c:pt idx="131">
                  <c:v>43963</c:v>
                </c:pt>
                <c:pt idx="132">
                  <c:v>43964</c:v>
                </c:pt>
                <c:pt idx="133">
                  <c:v>43965</c:v>
                </c:pt>
                <c:pt idx="134">
                  <c:v>43966</c:v>
                </c:pt>
                <c:pt idx="135">
                  <c:v>43967</c:v>
                </c:pt>
                <c:pt idx="136">
                  <c:v>43968</c:v>
                </c:pt>
                <c:pt idx="137">
                  <c:v>43969</c:v>
                </c:pt>
                <c:pt idx="138">
                  <c:v>43970</c:v>
                </c:pt>
                <c:pt idx="139">
                  <c:v>43971</c:v>
                </c:pt>
                <c:pt idx="140">
                  <c:v>43972</c:v>
                </c:pt>
                <c:pt idx="141">
                  <c:v>43973</c:v>
                </c:pt>
                <c:pt idx="142">
                  <c:v>43974</c:v>
                </c:pt>
                <c:pt idx="143">
                  <c:v>43975</c:v>
                </c:pt>
                <c:pt idx="144">
                  <c:v>43976</c:v>
                </c:pt>
                <c:pt idx="145">
                  <c:v>43977</c:v>
                </c:pt>
                <c:pt idx="146">
                  <c:v>43978</c:v>
                </c:pt>
                <c:pt idx="147">
                  <c:v>43979</c:v>
                </c:pt>
                <c:pt idx="148">
                  <c:v>43980</c:v>
                </c:pt>
                <c:pt idx="149">
                  <c:v>43981</c:v>
                </c:pt>
                <c:pt idx="150">
                  <c:v>43982</c:v>
                </c:pt>
                <c:pt idx="151">
                  <c:v>43983</c:v>
                </c:pt>
                <c:pt idx="152">
                  <c:v>43984</c:v>
                </c:pt>
                <c:pt idx="153">
                  <c:v>43985</c:v>
                </c:pt>
                <c:pt idx="154">
                  <c:v>43986</c:v>
                </c:pt>
                <c:pt idx="155">
                  <c:v>43987</c:v>
                </c:pt>
                <c:pt idx="156">
                  <c:v>43988</c:v>
                </c:pt>
                <c:pt idx="157">
                  <c:v>43989</c:v>
                </c:pt>
                <c:pt idx="158">
                  <c:v>43990</c:v>
                </c:pt>
                <c:pt idx="159">
                  <c:v>43991</c:v>
                </c:pt>
                <c:pt idx="160">
                  <c:v>43992</c:v>
                </c:pt>
                <c:pt idx="161">
                  <c:v>43993</c:v>
                </c:pt>
                <c:pt idx="162">
                  <c:v>43994</c:v>
                </c:pt>
                <c:pt idx="163">
                  <c:v>43995</c:v>
                </c:pt>
                <c:pt idx="164">
                  <c:v>43996</c:v>
                </c:pt>
                <c:pt idx="165">
                  <c:v>43997</c:v>
                </c:pt>
                <c:pt idx="166">
                  <c:v>43998</c:v>
                </c:pt>
                <c:pt idx="167">
                  <c:v>43999</c:v>
                </c:pt>
                <c:pt idx="168">
                  <c:v>44000</c:v>
                </c:pt>
                <c:pt idx="169">
                  <c:v>44001</c:v>
                </c:pt>
                <c:pt idx="170">
                  <c:v>44002</c:v>
                </c:pt>
                <c:pt idx="171">
                  <c:v>44003</c:v>
                </c:pt>
                <c:pt idx="172">
                  <c:v>44004</c:v>
                </c:pt>
                <c:pt idx="173">
                  <c:v>44005</c:v>
                </c:pt>
                <c:pt idx="174">
                  <c:v>44006</c:v>
                </c:pt>
                <c:pt idx="175">
                  <c:v>44007</c:v>
                </c:pt>
                <c:pt idx="176">
                  <c:v>44008</c:v>
                </c:pt>
                <c:pt idx="177">
                  <c:v>44009</c:v>
                </c:pt>
                <c:pt idx="178">
                  <c:v>44010</c:v>
                </c:pt>
                <c:pt idx="179">
                  <c:v>44011</c:v>
                </c:pt>
                <c:pt idx="180">
                  <c:v>44012</c:v>
                </c:pt>
                <c:pt idx="181">
                  <c:v>44013</c:v>
                </c:pt>
                <c:pt idx="182">
                  <c:v>44014</c:v>
                </c:pt>
                <c:pt idx="183">
                  <c:v>44015</c:v>
                </c:pt>
                <c:pt idx="184">
                  <c:v>44016</c:v>
                </c:pt>
                <c:pt idx="185">
                  <c:v>44017</c:v>
                </c:pt>
                <c:pt idx="186">
                  <c:v>44018</c:v>
                </c:pt>
                <c:pt idx="187">
                  <c:v>44019</c:v>
                </c:pt>
                <c:pt idx="188">
                  <c:v>44020</c:v>
                </c:pt>
                <c:pt idx="189">
                  <c:v>44021</c:v>
                </c:pt>
                <c:pt idx="190">
                  <c:v>44022</c:v>
                </c:pt>
                <c:pt idx="191">
                  <c:v>44023</c:v>
                </c:pt>
                <c:pt idx="192">
                  <c:v>44024</c:v>
                </c:pt>
                <c:pt idx="193">
                  <c:v>44025</c:v>
                </c:pt>
                <c:pt idx="194">
                  <c:v>44026</c:v>
                </c:pt>
                <c:pt idx="195">
                  <c:v>44027</c:v>
                </c:pt>
                <c:pt idx="196">
                  <c:v>44028</c:v>
                </c:pt>
                <c:pt idx="197">
                  <c:v>44029</c:v>
                </c:pt>
                <c:pt idx="198">
                  <c:v>44030</c:v>
                </c:pt>
                <c:pt idx="199">
                  <c:v>44031</c:v>
                </c:pt>
                <c:pt idx="200">
                  <c:v>44032</c:v>
                </c:pt>
                <c:pt idx="201">
                  <c:v>44033</c:v>
                </c:pt>
                <c:pt idx="202">
                  <c:v>44034</c:v>
                </c:pt>
                <c:pt idx="203">
                  <c:v>44035</c:v>
                </c:pt>
                <c:pt idx="204">
                  <c:v>44036</c:v>
                </c:pt>
                <c:pt idx="205">
                  <c:v>44037</c:v>
                </c:pt>
                <c:pt idx="206">
                  <c:v>44038</c:v>
                </c:pt>
                <c:pt idx="207">
                  <c:v>44039</c:v>
                </c:pt>
                <c:pt idx="208">
                  <c:v>44040</c:v>
                </c:pt>
                <c:pt idx="209">
                  <c:v>44041</c:v>
                </c:pt>
                <c:pt idx="210">
                  <c:v>44042</c:v>
                </c:pt>
                <c:pt idx="211">
                  <c:v>44043</c:v>
                </c:pt>
                <c:pt idx="212">
                  <c:v>44044</c:v>
                </c:pt>
                <c:pt idx="213">
                  <c:v>44045</c:v>
                </c:pt>
                <c:pt idx="214">
                  <c:v>44046</c:v>
                </c:pt>
                <c:pt idx="215">
                  <c:v>44047</c:v>
                </c:pt>
                <c:pt idx="216">
                  <c:v>44048</c:v>
                </c:pt>
                <c:pt idx="217">
                  <c:v>44049</c:v>
                </c:pt>
                <c:pt idx="218">
                  <c:v>44050</c:v>
                </c:pt>
                <c:pt idx="219">
                  <c:v>44051</c:v>
                </c:pt>
                <c:pt idx="220">
                  <c:v>44052</c:v>
                </c:pt>
                <c:pt idx="221">
                  <c:v>44053</c:v>
                </c:pt>
                <c:pt idx="222">
                  <c:v>44054</c:v>
                </c:pt>
                <c:pt idx="223">
                  <c:v>44055</c:v>
                </c:pt>
                <c:pt idx="224">
                  <c:v>44056</c:v>
                </c:pt>
                <c:pt idx="225">
                  <c:v>44057</c:v>
                </c:pt>
                <c:pt idx="226">
                  <c:v>44058</c:v>
                </c:pt>
                <c:pt idx="227">
                  <c:v>44059</c:v>
                </c:pt>
                <c:pt idx="228">
                  <c:v>44060</c:v>
                </c:pt>
                <c:pt idx="229">
                  <c:v>44061</c:v>
                </c:pt>
                <c:pt idx="230">
                  <c:v>44062</c:v>
                </c:pt>
                <c:pt idx="231">
                  <c:v>44063</c:v>
                </c:pt>
                <c:pt idx="232">
                  <c:v>44064</c:v>
                </c:pt>
                <c:pt idx="233">
                  <c:v>44065</c:v>
                </c:pt>
                <c:pt idx="234">
                  <c:v>44066</c:v>
                </c:pt>
                <c:pt idx="235">
                  <c:v>44067</c:v>
                </c:pt>
                <c:pt idx="236">
                  <c:v>44068</c:v>
                </c:pt>
                <c:pt idx="237">
                  <c:v>44069</c:v>
                </c:pt>
                <c:pt idx="238">
                  <c:v>44070</c:v>
                </c:pt>
                <c:pt idx="239">
                  <c:v>44071</c:v>
                </c:pt>
                <c:pt idx="240">
                  <c:v>44072</c:v>
                </c:pt>
                <c:pt idx="241">
                  <c:v>44073</c:v>
                </c:pt>
                <c:pt idx="242">
                  <c:v>44074</c:v>
                </c:pt>
                <c:pt idx="243">
                  <c:v>44075</c:v>
                </c:pt>
                <c:pt idx="244">
                  <c:v>44076</c:v>
                </c:pt>
                <c:pt idx="245">
                  <c:v>44077</c:v>
                </c:pt>
                <c:pt idx="246">
                  <c:v>44078</c:v>
                </c:pt>
                <c:pt idx="247">
                  <c:v>44079</c:v>
                </c:pt>
                <c:pt idx="248">
                  <c:v>44080</c:v>
                </c:pt>
                <c:pt idx="249">
                  <c:v>44081</c:v>
                </c:pt>
                <c:pt idx="250">
                  <c:v>44082</c:v>
                </c:pt>
                <c:pt idx="251">
                  <c:v>44083</c:v>
                </c:pt>
                <c:pt idx="252">
                  <c:v>44084</c:v>
                </c:pt>
                <c:pt idx="253">
                  <c:v>44085</c:v>
                </c:pt>
                <c:pt idx="254">
                  <c:v>44086</c:v>
                </c:pt>
                <c:pt idx="255">
                  <c:v>44087</c:v>
                </c:pt>
                <c:pt idx="256">
                  <c:v>44088</c:v>
                </c:pt>
                <c:pt idx="257">
                  <c:v>44089</c:v>
                </c:pt>
                <c:pt idx="258">
                  <c:v>44090</c:v>
                </c:pt>
                <c:pt idx="259">
                  <c:v>44091</c:v>
                </c:pt>
                <c:pt idx="260">
                  <c:v>44092</c:v>
                </c:pt>
                <c:pt idx="261">
                  <c:v>44093</c:v>
                </c:pt>
                <c:pt idx="262">
                  <c:v>44094</c:v>
                </c:pt>
                <c:pt idx="263">
                  <c:v>44095</c:v>
                </c:pt>
                <c:pt idx="264">
                  <c:v>44096</c:v>
                </c:pt>
                <c:pt idx="265">
                  <c:v>44097</c:v>
                </c:pt>
                <c:pt idx="266">
                  <c:v>44098</c:v>
                </c:pt>
                <c:pt idx="267">
                  <c:v>44099</c:v>
                </c:pt>
                <c:pt idx="268">
                  <c:v>44100</c:v>
                </c:pt>
                <c:pt idx="269">
                  <c:v>44101</c:v>
                </c:pt>
                <c:pt idx="270">
                  <c:v>44102</c:v>
                </c:pt>
                <c:pt idx="271">
                  <c:v>44103</c:v>
                </c:pt>
                <c:pt idx="272">
                  <c:v>44104</c:v>
                </c:pt>
                <c:pt idx="273">
                  <c:v>44105</c:v>
                </c:pt>
                <c:pt idx="274">
                  <c:v>44106</c:v>
                </c:pt>
                <c:pt idx="275">
                  <c:v>44107</c:v>
                </c:pt>
                <c:pt idx="276">
                  <c:v>44108</c:v>
                </c:pt>
                <c:pt idx="277">
                  <c:v>44109</c:v>
                </c:pt>
                <c:pt idx="278">
                  <c:v>44110</c:v>
                </c:pt>
                <c:pt idx="279">
                  <c:v>44111</c:v>
                </c:pt>
                <c:pt idx="280">
                  <c:v>44112</c:v>
                </c:pt>
                <c:pt idx="281">
                  <c:v>44113</c:v>
                </c:pt>
                <c:pt idx="282">
                  <c:v>44114</c:v>
                </c:pt>
                <c:pt idx="283">
                  <c:v>44115</c:v>
                </c:pt>
                <c:pt idx="284">
                  <c:v>44116</c:v>
                </c:pt>
                <c:pt idx="285">
                  <c:v>44117</c:v>
                </c:pt>
                <c:pt idx="286">
                  <c:v>44118</c:v>
                </c:pt>
                <c:pt idx="287">
                  <c:v>44119</c:v>
                </c:pt>
                <c:pt idx="288">
                  <c:v>44120</c:v>
                </c:pt>
                <c:pt idx="289">
                  <c:v>44121</c:v>
                </c:pt>
                <c:pt idx="290">
                  <c:v>44122</c:v>
                </c:pt>
                <c:pt idx="291">
                  <c:v>44123</c:v>
                </c:pt>
                <c:pt idx="292">
                  <c:v>44124</c:v>
                </c:pt>
                <c:pt idx="293">
                  <c:v>44125</c:v>
                </c:pt>
                <c:pt idx="294">
                  <c:v>44126</c:v>
                </c:pt>
                <c:pt idx="295">
                  <c:v>44127</c:v>
                </c:pt>
                <c:pt idx="296">
                  <c:v>44128</c:v>
                </c:pt>
                <c:pt idx="297">
                  <c:v>44129</c:v>
                </c:pt>
                <c:pt idx="298">
                  <c:v>44130</c:v>
                </c:pt>
                <c:pt idx="299">
                  <c:v>44131</c:v>
                </c:pt>
                <c:pt idx="300">
                  <c:v>44132</c:v>
                </c:pt>
                <c:pt idx="301">
                  <c:v>44133</c:v>
                </c:pt>
                <c:pt idx="302">
                  <c:v>44134</c:v>
                </c:pt>
                <c:pt idx="303">
                  <c:v>44135</c:v>
                </c:pt>
                <c:pt idx="304">
                  <c:v>44136</c:v>
                </c:pt>
                <c:pt idx="305">
                  <c:v>44137</c:v>
                </c:pt>
                <c:pt idx="306">
                  <c:v>44138</c:v>
                </c:pt>
                <c:pt idx="307">
                  <c:v>44139</c:v>
                </c:pt>
                <c:pt idx="308">
                  <c:v>44140</c:v>
                </c:pt>
                <c:pt idx="309">
                  <c:v>44141</c:v>
                </c:pt>
                <c:pt idx="310">
                  <c:v>44142</c:v>
                </c:pt>
                <c:pt idx="311">
                  <c:v>44143</c:v>
                </c:pt>
                <c:pt idx="312">
                  <c:v>44144</c:v>
                </c:pt>
                <c:pt idx="313">
                  <c:v>44145</c:v>
                </c:pt>
                <c:pt idx="314">
                  <c:v>44146</c:v>
                </c:pt>
                <c:pt idx="315">
                  <c:v>44147</c:v>
                </c:pt>
                <c:pt idx="316">
                  <c:v>44148</c:v>
                </c:pt>
                <c:pt idx="317">
                  <c:v>44149</c:v>
                </c:pt>
                <c:pt idx="318">
                  <c:v>44150</c:v>
                </c:pt>
                <c:pt idx="319">
                  <c:v>44151</c:v>
                </c:pt>
                <c:pt idx="320">
                  <c:v>44152</c:v>
                </c:pt>
                <c:pt idx="321">
                  <c:v>44153</c:v>
                </c:pt>
                <c:pt idx="322">
                  <c:v>44154</c:v>
                </c:pt>
                <c:pt idx="323">
                  <c:v>44155</c:v>
                </c:pt>
                <c:pt idx="324">
                  <c:v>44156</c:v>
                </c:pt>
                <c:pt idx="325">
                  <c:v>44157</c:v>
                </c:pt>
                <c:pt idx="326">
                  <c:v>44158</c:v>
                </c:pt>
                <c:pt idx="327">
                  <c:v>44159</c:v>
                </c:pt>
                <c:pt idx="328">
                  <c:v>44160</c:v>
                </c:pt>
                <c:pt idx="329">
                  <c:v>44161</c:v>
                </c:pt>
                <c:pt idx="330">
                  <c:v>44162</c:v>
                </c:pt>
                <c:pt idx="331">
                  <c:v>44163</c:v>
                </c:pt>
                <c:pt idx="332">
                  <c:v>44164</c:v>
                </c:pt>
                <c:pt idx="333">
                  <c:v>44165</c:v>
                </c:pt>
                <c:pt idx="334">
                  <c:v>44166</c:v>
                </c:pt>
                <c:pt idx="335">
                  <c:v>44167</c:v>
                </c:pt>
                <c:pt idx="336">
                  <c:v>44168</c:v>
                </c:pt>
                <c:pt idx="337">
                  <c:v>44169</c:v>
                </c:pt>
                <c:pt idx="338">
                  <c:v>44170</c:v>
                </c:pt>
                <c:pt idx="339">
                  <c:v>44171</c:v>
                </c:pt>
                <c:pt idx="340">
                  <c:v>44172</c:v>
                </c:pt>
                <c:pt idx="341">
                  <c:v>44173</c:v>
                </c:pt>
                <c:pt idx="342">
                  <c:v>44174</c:v>
                </c:pt>
                <c:pt idx="343">
                  <c:v>44175</c:v>
                </c:pt>
                <c:pt idx="344">
                  <c:v>44176</c:v>
                </c:pt>
                <c:pt idx="345">
                  <c:v>44177</c:v>
                </c:pt>
                <c:pt idx="346">
                  <c:v>44178</c:v>
                </c:pt>
                <c:pt idx="347">
                  <c:v>44179</c:v>
                </c:pt>
                <c:pt idx="348">
                  <c:v>44180</c:v>
                </c:pt>
                <c:pt idx="349">
                  <c:v>44181</c:v>
                </c:pt>
                <c:pt idx="350">
                  <c:v>44182</c:v>
                </c:pt>
                <c:pt idx="351">
                  <c:v>44183</c:v>
                </c:pt>
                <c:pt idx="352">
                  <c:v>44184</c:v>
                </c:pt>
                <c:pt idx="353">
                  <c:v>44185</c:v>
                </c:pt>
                <c:pt idx="354">
                  <c:v>44186</c:v>
                </c:pt>
                <c:pt idx="355">
                  <c:v>44187</c:v>
                </c:pt>
                <c:pt idx="356">
                  <c:v>44188</c:v>
                </c:pt>
                <c:pt idx="357">
                  <c:v>44189</c:v>
                </c:pt>
                <c:pt idx="358">
                  <c:v>44190</c:v>
                </c:pt>
                <c:pt idx="359">
                  <c:v>44191</c:v>
                </c:pt>
                <c:pt idx="360">
                  <c:v>44192</c:v>
                </c:pt>
                <c:pt idx="361">
                  <c:v>44193</c:v>
                </c:pt>
                <c:pt idx="362">
                  <c:v>44194</c:v>
                </c:pt>
                <c:pt idx="363">
                  <c:v>44195</c:v>
                </c:pt>
                <c:pt idx="364">
                  <c:v>44196</c:v>
                </c:pt>
              </c:numCache>
            </c:numRef>
          </c:cat>
          <c:val>
            <c:numRef>
              <c:f>'Ark1'!$B$3:$B$33</c:f>
              <c:numCache>
                <c:formatCode>0.00</c:formatCode>
                <c:ptCount val="31"/>
                <c:pt idx="0">
                  <c:v>85816</c:v>
                </c:pt>
                <c:pt idx="1">
                  <c:v>85734</c:v>
                </c:pt>
                <c:pt idx="2">
                  <c:v>85613</c:v>
                </c:pt>
                <c:pt idx="3">
                  <c:v>85757</c:v>
                </c:pt>
                <c:pt idx="4">
                  <c:v>85662</c:v>
                </c:pt>
                <c:pt idx="5">
                  <c:v>85463</c:v>
                </c:pt>
                <c:pt idx="6">
                  <c:v>86728</c:v>
                </c:pt>
                <c:pt idx="7">
                  <c:v>88927</c:v>
                </c:pt>
                <c:pt idx="8">
                  <c:v>89244</c:v>
                </c:pt>
                <c:pt idx="9">
                  <c:v>89037</c:v>
                </c:pt>
                <c:pt idx="10">
                  <c:v>88425</c:v>
                </c:pt>
                <c:pt idx="11">
                  <c:v>87947</c:v>
                </c:pt>
                <c:pt idx="12">
                  <c:v>87821</c:v>
                </c:pt>
                <c:pt idx="13">
                  <c:v>87724</c:v>
                </c:pt>
                <c:pt idx="14">
                  <c:v>87115</c:v>
                </c:pt>
                <c:pt idx="15">
                  <c:v>85829</c:v>
                </c:pt>
                <c:pt idx="16">
                  <c:v>85088</c:v>
                </c:pt>
                <c:pt idx="17">
                  <c:v>84839</c:v>
                </c:pt>
                <c:pt idx="18">
                  <c:v>84581</c:v>
                </c:pt>
                <c:pt idx="19">
                  <c:v>84536</c:v>
                </c:pt>
                <c:pt idx="20">
                  <c:v>84595</c:v>
                </c:pt>
                <c:pt idx="21">
                  <c:v>84564</c:v>
                </c:pt>
                <c:pt idx="22">
                  <c:v>85145</c:v>
                </c:pt>
                <c:pt idx="23">
                  <c:v>85548</c:v>
                </c:pt>
                <c:pt idx="24">
                  <c:v>85654</c:v>
                </c:pt>
                <c:pt idx="25">
                  <c:v>85932</c:v>
                </c:pt>
                <c:pt idx="26">
                  <c:v>86095</c:v>
                </c:pt>
                <c:pt idx="27">
                  <c:v>86218</c:v>
                </c:pt>
                <c:pt idx="28">
                  <c:v>86005</c:v>
                </c:pt>
                <c:pt idx="29">
                  <c:v>85976</c:v>
                </c:pt>
                <c:pt idx="30">
                  <c:v>85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3A1-47F3-B2B3-E43447D5766E}"/>
            </c:ext>
          </c:extLst>
        </c:ser>
        <c:ser>
          <c:idx val="3"/>
          <c:order val="3"/>
          <c:tx>
            <c:strRef>
              <c:f>'Ark1'!$E$2</c:f>
              <c:strCache>
                <c:ptCount val="1"/>
                <c:pt idx="0">
                  <c:v>2019 7-day moving average</c:v>
                </c:pt>
              </c:strCache>
            </c:strRef>
          </c:tx>
          <c:spPr>
            <a:ln w="19050" cap="rnd">
              <a:solidFill>
                <a:srgbClr val="9396B4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Ark1'!$A$3:$A$367</c:f>
              <c:numCache>
                <c:formatCode>[$-40C]d\-mmm;@</c:formatCode>
                <c:ptCount val="365"/>
                <c:pt idx="0">
                  <c:v>43831</c:v>
                </c:pt>
                <c:pt idx="1">
                  <c:v>43832</c:v>
                </c:pt>
                <c:pt idx="2">
                  <c:v>43833</c:v>
                </c:pt>
                <c:pt idx="3">
                  <c:v>43834</c:v>
                </c:pt>
                <c:pt idx="4">
                  <c:v>43835</c:v>
                </c:pt>
                <c:pt idx="5">
                  <c:v>43836</c:v>
                </c:pt>
                <c:pt idx="6">
                  <c:v>43837</c:v>
                </c:pt>
                <c:pt idx="7">
                  <c:v>43838</c:v>
                </c:pt>
                <c:pt idx="8">
                  <c:v>43839</c:v>
                </c:pt>
                <c:pt idx="9">
                  <c:v>43840</c:v>
                </c:pt>
                <c:pt idx="10">
                  <c:v>43841</c:v>
                </c:pt>
                <c:pt idx="11">
                  <c:v>43842</c:v>
                </c:pt>
                <c:pt idx="12">
                  <c:v>43843</c:v>
                </c:pt>
                <c:pt idx="13">
                  <c:v>43844</c:v>
                </c:pt>
                <c:pt idx="14">
                  <c:v>43845</c:v>
                </c:pt>
                <c:pt idx="15">
                  <c:v>43846</c:v>
                </c:pt>
                <c:pt idx="16">
                  <c:v>43847</c:v>
                </c:pt>
                <c:pt idx="17">
                  <c:v>43848</c:v>
                </c:pt>
                <c:pt idx="18">
                  <c:v>43849</c:v>
                </c:pt>
                <c:pt idx="19">
                  <c:v>43850</c:v>
                </c:pt>
                <c:pt idx="20">
                  <c:v>43851</c:v>
                </c:pt>
                <c:pt idx="21">
                  <c:v>43852</c:v>
                </c:pt>
                <c:pt idx="22">
                  <c:v>43853</c:v>
                </c:pt>
                <c:pt idx="23">
                  <c:v>43854</c:v>
                </c:pt>
                <c:pt idx="24">
                  <c:v>43855</c:v>
                </c:pt>
                <c:pt idx="25">
                  <c:v>43856</c:v>
                </c:pt>
                <c:pt idx="26">
                  <c:v>43857</c:v>
                </c:pt>
                <c:pt idx="27">
                  <c:v>43858</c:v>
                </c:pt>
                <c:pt idx="28">
                  <c:v>43859</c:v>
                </c:pt>
                <c:pt idx="29">
                  <c:v>43860</c:v>
                </c:pt>
                <c:pt idx="30">
                  <c:v>43861</c:v>
                </c:pt>
                <c:pt idx="31">
                  <c:v>43862</c:v>
                </c:pt>
                <c:pt idx="32">
                  <c:v>43863</c:v>
                </c:pt>
                <c:pt idx="33">
                  <c:v>43864</c:v>
                </c:pt>
                <c:pt idx="34">
                  <c:v>43865</c:v>
                </c:pt>
                <c:pt idx="35">
                  <c:v>43866</c:v>
                </c:pt>
                <c:pt idx="36">
                  <c:v>43867</c:v>
                </c:pt>
                <c:pt idx="37">
                  <c:v>43868</c:v>
                </c:pt>
                <c:pt idx="38">
                  <c:v>43869</c:v>
                </c:pt>
                <c:pt idx="39">
                  <c:v>43870</c:v>
                </c:pt>
                <c:pt idx="40">
                  <c:v>43871</c:v>
                </c:pt>
                <c:pt idx="41">
                  <c:v>43872</c:v>
                </c:pt>
                <c:pt idx="42">
                  <c:v>43873</c:v>
                </c:pt>
                <c:pt idx="43">
                  <c:v>43874</c:v>
                </c:pt>
                <c:pt idx="44">
                  <c:v>43875</c:v>
                </c:pt>
                <c:pt idx="45">
                  <c:v>43876</c:v>
                </c:pt>
                <c:pt idx="46">
                  <c:v>43877</c:v>
                </c:pt>
                <c:pt idx="47">
                  <c:v>43878</c:v>
                </c:pt>
                <c:pt idx="48">
                  <c:v>43879</c:v>
                </c:pt>
                <c:pt idx="49">
                  <c:v>43880</c:v>
                </c:pt>
                <c:pt idx="50">
                  <c:v>43881</c:v>
                </c:pt>
                <c:pt idx="51">
                  <c:v>43882</c:v>
                </c:pt>
                <c:pt idx="52">
                  <c:v>43883</c:v>
                </c:pt>
                <c:pt idx="53">
                  <c:v>43884</c:v>
                </c:pt>
                <c:pt idx="54">
                  <c:v>43885</c:v>
                </c:pt>
                <c:pt idx="55">
                  <c:v>43886</c:v>
                </c:pt>
                <c:pt idx="56">
                  <c:v>43887</c:v>
                </c:pt>
                <c:pt idx="57">
                  <c:v>43888</c:v>
                </c:pt>
                <c:pt idx="58">
                  <c:v>43889</c:v>
                </c:pt>
                <c:pt idx="59">
                  <c:v>43891</c:v>
                </c:pt>
                <c:pt idx="60">
                  <c:v>43892</c:v>
                </c:pt>
                <c:pt idx="61">
                  <c:v>43893</c:v>
                </c:pt>
                <c:pt idx="62">
                  <c:v>43894</c:v>
                </c:pt>
                <c:pt idx="63">
                  <c:v>43895</c:v>
                </c:pt>
                <c:pt idx="64">
                  <c:v>43896</c:v>
                </c:pt>
                <c:pt idx="65">
                  <c:v>43897</c:v>
                </c:pt>
                <c:pt idx="66">
                  <c:v>43898</c:v>
                </c:pt>
                <c:pt idx="67">
                  <c:v>43899</c:v>
                </c:pt>
                <c:pt idx="68">
                  <c:v>43900</c:v>
                </c:pt>
                <c:pt idx="69">
                  <c:v>43901</c:v>
                </c:pt>
                <c:pt idx="70">
                  <c:v>43902</c:v>
                </c:pt>
                <c:pt idx="71">
                  <c:v>43903</c:v>
                </c:pt>
                <c:pt idx="72">
                  <c:v>43904</c:v>
                </c:pt>
                <c:pt idx="73">
                  <c:v>43905</c:v>
                </c:pt>
                <c:pt idx="74">
                  <c:v>43906</c:v>
                </c:pt>
                <c:pt idx="75">
                  <c:v>43907</c:v>
                </c:pt>
                <c:pt idx="76">
                  <c:v>43908</c:v>
                </c:pt>
                <c:pt idx="77">
                  <c:v>43909</c:v>
                </c:pt>
                <c:pt idx="78">
                  <c:v>43910</c:v>
                </c:pt>
                <c:pt idx="79">
                  <c:v>43911</c:v>
                </c:pt>
                <c:pt idx="80">
                  <c:v>43912</c:v>
                </c:pt>
                <c:pt idx="81">
                  <c:v>43913</c:v>
                </c:pt>
                <c:pt idx="82">
                  <c:v>43914</c:v>
                </c:pt>
                <c:pt idx="83">
                  <c:v>43915</c:v>
                </c:pt>
                <c:pt idx="84">
                  <c:v>43916</c:v>
                </c:pt>
                <c:pt idx="85">
                  <c:v>43917</c:v>
                </c:pt>
                <c:pt idx="86">
                  <c:v>43918</c:v>
                </c:pt>
                <c:pt idx="87">
                  <c:v>43919</c:v>
                </c:pt>
                <c:pt idx="88">
                  <c:v>43920</c:v>
                </c:pt>
                <c:pt idx="89">
                  <c:v>43921</c:v>
                </c:pt>
                <c:pt idx="90">
                  <c:v>43922</c:v>
                </c:pt>
                <c:pt idx="91">
                  <c:v>43923</c:v>
                </c:pt>
                <c:pt idx="92">
                  <c:v>43924</c:v>
                </c:pt>
                <c:pt idx="93">
                  <c:v>43925</c:v>
                </c:pt>
                <c:pt idx="94">
                  <c:v>43926</c:v>
                </c:pt>
                <c:pt idx="95">
                  <c:v>43927</c:v>
                </c:pt>
                <c:pt idx="96">
                  <c:v>43928</c:v>
                </c:pt>
                <c:pt idx="97">
                  <c:v>43929</c:v>
                </c:pt>
                <c:pt idx="98">
                  <c:v>43930</c:v>
                </c:pt>
                <c:pt idx="99">
                  <c:v>43931</c:v>
                </c:pt>
                <c:pt idx="100">
                  <c:v>43932</c:v>
                </c:pt>
                <c:pt idx="101">
                  <c:v>43933</c:v>
                </c:pt>
                <c:pt idx="102">
                  <c:v>43934</c:v>
                </c:pt>
                <c:pt idx="103">
                  <c:v>43935</c:v>
                </c:pt>
                <c:pt idx="104">
                  <c:v>43936</c:v>
                </c:pt>
                <c:pt idx="105">
                  <c:v>43937</c:v>
                </c:pt>
                <c:pt idx="106">
                  <c:v>43938</c:v>
                </c:pt>
                <c:pt idx="107">
                  <c:v>43939</c:v>
                </c:pt>
                <c:pt idx="108">
                  <c:v>43940</c:v>
                </c:pt>
                <c:pt idx="109">
                  <c:v>43941</c:v>
                </c:pt>
                <c:pt idx="110">
                  <c:v>43942</c:v>
                </c:pt>
                <c:pt idx="111">
                  <c:v>43943</c:v>
                </c:pt>
                <c:pt idx="112">
                  <c:v>43944</c:v>
                </c:pt>
                <c:pt idx="113">
                  <c:v>43945</c:v>
                </c:pt>
                <c:pt idx="114">
                  <c:v>43946</c:v>
                </c:pt>
                <c:pt idx="115">
                  <c:v>43947</c:v>
                </c:pt>
                <c:pt idx="116">
                  <c:v>43948</c:v>
                </c:pt>
                <c:pt idx="117">
                  <c:v>43949</c:v>
                </c:pt>
                <c:pt idx="118">
                  <c:v>43950</c:v>
                </c:pt>
                <c:pt idx="119">
                  <c:v>43951</c:v>
                </c:pt>
                <c:pt idx="120">
                  <c:v>43952</c:v>
                </c:pt>
                <c:pt idx="121">
                  <c:v>43953</c:v>
                </c:pt>
                <c:pt idx="122">
                  <c:v>43954</c:v>
                </c:pt>
                <c:pt idx="123">
                  <c:v>43955</c:v>
                </c:pt>
                <c:pt idx="124">
                  <c:v>43956</c:v>
                </c:pt>
                <c:pt idx="125">
                  <c:v>43957</c:v>
                </c:pt>
                <c:pt idx="126">
                  <c:v>43958</c:v>
                </c:pt>
                <c:pt idx="127">
                  <c:v>43959</c:v>
                </c:pt>
                <c:pt idx="128">
                  <c:v>43960</c:v>
                </c:pt>
                <c:pt idx="129">
                  <c:v>43961</c:v>
                </c:pt>
                <c:pt idx="130">
                  <c:v>43962</c:v>
                </c:pt>
                <c:pt idx="131">
                  <c:v>43963</c:v>
                </c:pt>
                <c:pt idx="132">
                  <c:v>43964</c:v>
                </c:pt>
                <c:pt idx="133">
                  <c:v>43965</c:v>
                </c:pt>
                <c:pt idx="134">
                  <c:v>43966</c:v>
                </c:pt>
                <c:pt idx="135">
                  <c:v>43967</c:v>
                </c:pt>
                <c:pt idx="136">
                  <c:v>43968</c:v>
                </c:pt>
                <c:pt idx="137">
                  <c:v>43969</c:v>
                </c:pt>
                <c:pt idx="138">
                  <c:v>43970</c:v>
                </c:pt>
                <c:pt idx="139">
                  <c:v>43971</c:v>
                </c:pt>
                <c:pt idx="140">
                  <c:v>43972</c:v>
                </c:pt>
                <c:pt idx="141">
                  <c:v>43973</c:v>
                </c:pt>
                <c:pt idx="142">
                  <c:v>43974</c:v>
                </c:pt>
                <c:pt idx="143">
                  <c:v>43975</c:v>
                </c:pt>
                <c:pt idx="144">
                  <c:v>43976</c:v>
                </c:pt>
                <c:pt idx="145">
                  <c:v>43977</c:v>
                </c:pt>
                <c:pt idx="146">
                  <c:v>43978</c:v>
                </c:pt>
                <c:pt idx="147">
                  <c:v>43979</c:v>
                </c:pt>
                <c:pt idx="148">
                  <c:v>43980</c:v>
                </c:pt>
                <c:pt idx="149">
                  <c:v>43981</c:v>
                </c:pt>
                <c:pt idx="150">
                  <c:v>43982</c:v>
                </c:pt>
                <c:pt idx="151">
                  <c:v>43983</c:v>
                </c:pt>
                <c:pt idx="152">
                  <c:v>43984</c:v>
                </c:pt>
                <c:pt idx="153">
                  <c:v>43985</c:v>
                </c:pt>
                <c:pt idx="154">
                  <c:v>43986</c:v>
                </c:pt>
                <c:pt idx="155">
                  <c:v>43987</c:v>
                </c:pt>
                <c:pt idx="156">
                  <c:v>43988</c:v>
                </c:pt>
                <c:pt idx="157">
                  <c:v>43989</c:v>
                </c:pt>
                <c:pt idx="158">
                  <c:v>43990</c:v>
                </c:pt>
                <c:pt idx="159">
                  <c:v>43991</c:v>
                </c:pt>
                <c:pt idx="160">
                  <c:v>43992</c:v>
                </c:pt>
                <c:pt idx="161">
                  <c:v>43993</c:v>
                </c:pt>
                <c:pt idx="162">
                  <c:v>43994</c:v>
                </c:pt>
                <c:pt idx="163">
                  <c:v>43995</c:v>
                </c:pt>
                <c:pt idx="164">
                  <c:v>43996</c:v>
                </c:pt>
                <c:pt idx="165">
                  <c:v>43997</c:v>
                </c:pt>
                <c:pt idx="166">
                  <c:v>43998</c:v>
                </c:pt>
                <c:pt idx="167">
                  <c:v>43999</c:v>
                </c:pt>
                <c:pt idx="168">
                  <c:v>44000</c:v>
                </c:pt>
                <c:pt idx="169">
                  <c:v>44001</c:v>
                </c:pt>
                <c:pt idx="170">
                  <c:v>44002</c:v>
                </c:pt>
                <c:pt idx="171">
                  <c:v>44003</c:v>
                </c:pt>
                <c:pt idx="172">
                  <c:v>44004</c:v>
                </c:pt>
                <c:pt idx="173">
                  <c:v>44005</c:v>
                </c:pt>
                <c:pt idx="174">
                  <c:v>44006</c:v>
                </c:pt>
                <c:pt idx="175">
                  <c:v>44007</c:v>
                </c:pt>
                <c:pt idx="176">
                  <c:v>44008</c:v>
                </c:pt>
                <c:pt idx="177">
                  <c:v>44009</c:v>
                </c:pt>
                <c:pt idx="178">
                  <c:v>44010</c:v>
                </c:pt>
                <c:pt idx="179">
                  <c:v>44011</c:v>
                </c:pt>
                <c:pt idx="180">
                  <c:v>44012</c:v>
                </c:pt>
                <c:pt idx="181">
                  <c:v>44013</c:v>
                </c:pt>
                <c:pt idx="182">
                  <c:v>44014</c:v>
                </c:pt>
                <c:pt idx="183">
                  <c:v>44015</c:v>
                </c:pt>
                <c:pt idx="184">
                  <c:v>44016</c:v>
                </c:pt>
                <c:pt idx="185">
                  <c:v>44017</c:v>
                </c:pt>
                <c:pt idx="186">
                  <c:v>44018</c:v>
                </c:pt>
                <c:pt idx="187">
                  <c:v>44019</c:v>
                </c:pt>
                <c:pt idx="188">
                  <c:v>44020</c:v>
                </c:pt>
                <c:pt idx="189">
                  <c:v>44021</c:v>
                </c:pt>
                <c:pt idx="190">
                  <c:v>44022</c:v>
                </c:pt>
                <c:pt idx="191">
                  <c:v>44023</c:v>
                </c:pt>
                <c:pt idx="192">
                  <c:v>44024</c:v>
                </c:pt>
                <c:pt idx="193">
                  <c:v>44025</c:v>
                </c:pt>
                <c:pt idx="194">
                  <c:v>44026</c:v>
                </c:pt>
                <c:pt idx="195">
                  <c:v>44027</c:v>
                </c:pt>
                <c:pt idx="196">
                  <c:v>44028</c:v>
                </c:pt>
                <c:pt idx="197">
                  <c:v>44029</c:v>
                </c:pt>
                <c:pt idx="198">
                  <c:v>44030</c:v>
                </c:pt>
                <c:pt idx="199">
                  <c:v>44031</c:v>
                </c:pt>
                <c:pt idx="200">
                  <c:v>44032</c:v>
                </c:pt>
                <c:pt idx="201">
                  <c:v>44033</c:v>
                </c:pt>
                <c:pt idx="202">
                  <c:v>44034</c:v>
                </c:pt>
                <c:pt idx="203">
                  <c:v>44035</c:v>
                </c:pt>
                <c:pt idx="204">
                  <c:v>44036</c:v>
                </c:pt>
                <c:pt idx="205">
                  <c:v>44037</c:v>
                </c:pt>
                <c:pt idx="206">
                  <c:v>44038</c:v>
                </c:pt>
                <c:pt idx="207">
                  <c:v>44039</c:v>
                </c:pt>
                <c:pt idx="208">
                  <c:v>44040</c:v>
                </c:pt>
                <c:pt idx="209">
                  <c:v>44041</c:v>
                </c:pt>
                <c:pt idx="210">
                  <c:v>44042</c:v>
                </c:pt>
                <c:pt idx="211">
                  <c:v>44043</c:v>
                </c:pt>
                <c:pt idx="212">
                  <c:v>44044</c:v>
                </c:pt>
                <c:pt idx="213">
                  <c:v>44045</c:v>
                </c:pt>
                <c:pt idx="214">
                  <c:v>44046</c:v>
                </c:pt>
                <c:pt idx="215">
                  <c:v>44047</c:v>
                </c:pt>
                <c:pt idx="216">
                  <c:v>44048</c:v>
                </c:pt>
                <c:pt idx="217">
                  <c:v>44049</c:v>
                </c:pt>
                <c:pt idx="218">
                  <c:v>44050</c:v>
                </c:pt>
                <c:pt idx="219">
                  <c:v>44051</c:v>
                </c:pt>
                <c:pt idx="220">
                  <c:v>44052</c:v>
                </c:pt>
                <c:pt idx="221">
                  <c:v>44053</c:v>
                </c:pt>
                <c:pt idx="222">
                  <c:v>44054</c:v>
                </c:pt>
                <c:pt idx="223">
                  <c:v>44055</c:v>
                </c:pt>
                <c:pt idx="224">
                  <c:v>44056</c:v>
                </c:pt>
                <c:pt idx="225">
                  <c:v>44057</c:v>
                </c:pt>
                <c:pt idx="226">
                  <c:v>44058</c:v>
                </c:pt>
                <c:pt idx="227">
                  <c:v>44059</c:v>
                </c:pt>
                <c:pt idx="228">
                  <c:v>44060</c:v>
                </c:pt>
                <c:pt idx="229">
                  <c:v>44061</c:v>
                </c:pt>
                <c:pt idx="230">
                  <c:v>44062</c:v>
                </c:pt>
                <c:pt idx="231">
                  <c:v>44063</c:v>
                </c:pt>
                <c:pt idx="232">
                  <c:v>44064</c:v>
                </c:pt>
                <c:pt idx="233">
                  <c:v>44065</c:v>
                </c:pt>
                <c:pt idx="234">
                  <c:v>44066</c:v>
                </c:pt>
                <c:pt idx="235">
                  <c:v>44067</c:v>
                </c:pt>
                <c:pt idx="236">
                  <c:v>44068</c:v>
                </c:pt>
                <c:pt idx="237">
                  <c:v>44069</c:v>
                </c:pt>
                <c:pt idx="238">
                  <c:v>44070</c:v>
                </c:pt>
                <c:pt idx="239">
                  <c:v>44071</c:v>
                </c:pt>
                <c:pt idx="240">
                  <c:v>44072</c:v>
                </c:pt>
                <c:pt idx="241">
                  <c:v>44073</c:v>
                </c:pt>
                <c:pt idx="242">
                  <c:v>44074</c:v>
                </c:pt>
                <c:pt idx="243">
                  <c:v>44075</c:v>
                </c:pt>
                <c:pt idx="244">
                  <c:v>44076</c:v>
                </c:pt>
                <c:pt idx="245">
                  <c:v>44077</c:v>
                </c:pt>
                <c:pt idx="246">
                  <c:v>44078</c:v>
                </c:pt>
                <c:pt idx="247">
                  <c:v>44079</c:v>
                </c:pt>
                <c:pt idx="248">
                  <c:v>44080</c:v>
                </c:pt>
                <c:pt idx="249">
                  <c:v>44081</c:v>
                </c:pt>
                <c:pt idx="250">
                  <c:v>44082</c:v>
                </c:pt>
                <c:pt idx="251">
                  <c:v>44083</c:v>
                </c:pt>
                <c:pt idx="252">
                  <c:v>44084</c:v>
                </c:pt>
                <c:pt idx="253">
                  <c:v>44085</c:v>
                </c:pt>
                <c:pt idx="254">
                  <c:v>44086</c:v>
                </c:pt>
                <c:pt idx="255">
                  <c:v>44087</c:v>
                </c:pt>
                <c:pt idx="256">
                  <c:v>44088</c:v>
                </c:pt>
                <c:pt idx="257">
                  <c:v>44089</c:v>
                </c:pt>
                <c:pt idx="258">
                  <c:v>44090</c:v>
                </c:pt>
                <c:pt idx="259">
                  <c:v>44091</c:v>
                </c:pt>
                <c:pt idx="260">
                  <c:v>44092</c:v>
                </c:pt>
                <c:pt idx="261">
                  <c:v>44093</c:v>
                </c:pt>
                <c:pt idx="262">
                  <c:v>44094</c:v>
                </c:pt>
                <c:pt idx="263">
                  <c:v>44095</c:v>
                </c:pt>
                <c:pt idx="264">
                  <c:v>44096</c:v>
                </c:pt>
                <c:pt idx="265">
                  <c:v>44097</c:v>
                </c:pt>
                <c:pt idx="266">
                  <c:v>44098</c:v>
                </c:pt>
                <c:pt idx="267">
                  <c:v>44099</c:v>
                </c:pt>
                <c:pt idx="268">
                  <c:v>44100</c:v>
                </c:pt>
                <c:pt idx="269">
                  <c:v>44101</c:v>
                </c:pt>
                <c:pt idx="270">
                  <c:v>44102</c:v>
                </c:pt>
                <c:pt idx="271">
                  <c:v>44103</c:v>
                </c:pt>
                <c:pt idx="272">
                  <c:v>44104</c:v>
                </c:pt>
                <c:pt idx="273">
                  <c:v>44105</c:v>
                </c:pt>
                <c:pt idx="274">
                  <c:v>44106</c:v>
                </c:pt>
                <c:pt idx="275">
                  <c:v>44107</c:v>
                </c:pt>
                <c:pt idx="276">
                  <c:v>44108</c:v>
                </c:pt>
                <c:pt idx="277">
                  <c:v>44109</c:v>
                </c:pt>
                <c:pt idx="278">
                  <c:v>44110</c:v>
                </c:pt>
                <c:pt idx="279">
                  <c:v>44111</c:v>
                </c:pt>
                <c:pt idx="280">
                  <c:v>44112</c:v>
                </c:pt>
                <c:pt idx="281">
                  <c:v>44113</c:v>
                </c:pt>
                <c:pt idx="282">
                  <c:v>44114</c:v>
                </c:pt>
                <c:pt idx="283">
                  <c:v>44115</c:v>
                </c:pt>
                <c:pt idx="284">
                  <c:v>44116</c:v>
                </c:pt>
                <c:pt idx="285">
                  <c:v>44117</c:v>
                </c:pt>
                <c:pt idx="286">
                  <c:v>44118</c:v>
                </c:pt>
                <c:pt idx="287">
                  <c:v>44119</c:v>
                </c:pt>
                <c:pt idx="288">
                  <c:v>44120</c:v>
                </c:pt>
                <c:pt idx="289">
                  <c:v>44121</c:v>
                </c:pt>
                <c:pt idx="290">
                  <c:v>44122</c:v>
                </c:pt>
                <c:pt idx="291">
                  <c:v>44123</c:v>
                </c:pt>
                <c:pt idx="292">
                  <c:v>44124</c:v>
                </c:pt>
                <c:pt idx="293">
                  <c:v>44125</c:v>
                </c:pt>
                <c:pt idx="294">
                  <c:v>44126</c:v>
                </c:pt>
                <c:pt idx="295">
                  <c:v>44127</c:v>
                </c:pt>
                <c:pt idx="296">
                  <c:v>44128</c:v>
                </c:pt>
                <c:pt idx="297">
                  <c:v>44129</c:v>
                </c:pt>
                <c:pt idx="298">
                  <c:v>44130</c:v>
                </c:pt>
                <c:pt idx="299">
                  <c:v>44131</c:v>
                </c:pt>
                <c:pt idx="300">
                  <c:v>44132</c:v>
                </c:pt>
                <c:pt idx="301">
                  <c:v>44133</c:v>
                </c:pt>
                <c:pt idx="302">
                  <c:v>44134</c:v>
                </c:pt>
                <c:pt idx="303">
                  <c:v>44135</c:v>
                </c:pt>
                <c:pt idx="304">
                  <c:v>44136</c:v>
                </c:pt>
                <c:pt idx="305">
                  <c:v>44137</c:v>
                </c:pt>
                <c:pt idx="306">
                  <c:v>44138</c:v>
                </c:pt>
                <c:pt idx="307">
                  <c:v>44139</c:v>
                </c:pt>
                <c:pt idx="308">
                  <c:v>44140</c:v>
                </c:pt>
                <c:pt idx="309">
                  <c:v>44141</c:v>
                </c:pt>
                <c:pt idx="310">
                  <c:v>44142</c:v>
                </c:pt>
                <c:pt idx="311">
                  <c:v>44143</c:v>
                </c:pt>
                <c:pt idx="312">
                  <c:v>44144</c:v>
                </c:pt>
                <c:pt idx="313">
                  <c:v>44145</c:v>
                </c:pt>
                <c:pt idx="314">
                  <c:v>44146</c:v>
                </c:pt>
                <c:pt idx="315">
                  <c:v>44147</c:v>
                </c:pt>
                <c:pt idx="316">
                  <c:v>44148</c:v>
                </c:pt>
                <c:pt idx="317">
                  <c:v>44149</c:v>
                </c:pt>
                <c:pt idx="318">
                  <c:v>44150</c:v>
                </c:pt>
                <c:pt idx="319">
                  <c:v>44151</c:v>
                </c:pt>
                <c:pt idx="320">
                  <c:v>44152</c:v>
                </c:pt>
                <c:pt idx="321">
                  <c:v>44153</c:v>
                </c:pt>
                <c:pt idx="322">
                  <c:v>44154</c:v>
                </c:pt>
                <c:pt idx="323">
                  <c:v>44155</c:v>
                </c:pt>
                <c:pt idx="324">
                  <c:v>44156</c:v>
                </c:pt>
                <c:pt idx="325">
                  <c:v>44157</c:v>
                </c:pt>
                <c:pt idx="326">
                  <c:v>44158</c:v>
                </c:pt>
                <c:pt idx="327">
                  <c:v>44159</c:v>
                </c:pt>
                <c:pt idx="328">
                  <c:v>44160</c:v>
                </c:pt>
                <c:pt idx="329">
                  <c:v>44161</c:v>
                </c:pt>
                <c:pt idx="330">
                  <c:v>44162</c:v>
                </c:pt>
                <c:pt idx="331">
                  <c:v>44163</c:v>
                </c:pt>
                <c:pt idx="332">
                  <c:v>44164</c:v>
                </c:pt>
                <c:pt idx="333">
                  <c:v>44165</c:v>
                </c:pt>
                <c:pt idx="334">
                  <c:v>44166</c:v>
                </c:pt>
                <c:pt idx="335">
                  <c:v>44167</c:v>
                </c:pt>
                <c:pt idx="336">
                  <c:v>44168</c:v>
                </c:pt>
                <c:pt idx="337">
                  <c:v>44169</c:v>
                </c:pt>
                <c:pt idx="338">
                  <c:v>44170</c:v>
                </c:pt>
                <c:pt idx="339">
                  <c:v>44171</c:v>
                </c:pt>
                <c:pt idx="340">
                  <c:v>44172</c:v>
                </c:pt>
                <c:pt idx="341">
                  <c:v>44173</c:v>
                </c:pt>
                <c:pt idx="342">
                  <c:v>44174</c:v>
                </c:pt>
                <c:pt idx="343">
                  <c:v>44175</c:v>
                </c:pt>
                <c:pt idx="344">
                  <c:v>44176</c:v>
                </c:pt>
                <c:pt idx="345">
                  <c:v>44177</c:v>
                </c:pt>
                <c:pt idx="346">
                  <c:v>44178</c:v>
                </c:pt>
                <c:pt idx="347">
                  <c:v>44179</c:v>
                </c:pt>
                <c:pt idx="348">
                  <c:v>44180</c:v>
                </c:pt>
                <c:pt idx="349">
                  <c:v>44181</c:v>
                </c:pt>
                <c:pt idx="350">
                  <c:v>44182</c:v>
                </c:pt>
                <c:pt idx="351">
                  <c:v>44183</c:v>
                </c:pt>
                <c:pt idx="352">
                  <c:v>44184</c:v>
                </c:pt>
                <c:pt idx="353">
                  <c:v>44185</c:v>
                </c:pt>
                <c:pt idx="354">
                  <c:v>44186</c:v>
                </c:pt>
                <c:pt idx="355">
                  <c:v>44187</c:v>
                </c:pt>
                <c:pt idx="356">
                  <c:v>44188</c:v>
                </c:pt>
                <c:pt idx="357">
                  <c:v>44189</c:v>
                </c:pt>
                <c:pt idx="358">
                  <c:v>44190</c:v>
                </c:pt>
                <c:pt idx="359">
                  <c:v>44191</c:v>
                </c:pt>
                <c:pt idx="360">
                  <c:v>44192</c:v>
                </c:pt>
                <c:pt idx="361">
                  <c:v>44193</c:v>
                </c:pt>
                <c:pt idx="362">
                  <c:v>44194</c:v>
                </c:pt>
                <c:pt idx="363">
                  <c:v>44195</c:v>
                </c:pt>
                <c:pt idx="364">
                  <c:v>44196</c:v>
                </c:pt>
              </c:numCache>
            </c:numRef>
          </c:cat>
          <c:val>
            <c:numRef>
              <c:f>'Ark1'!$E$3:$E$367</c:f>
              <c:numCache>
                <c:formatCode>0.00</c:formatCode>
                <c:ptCount val="365"/>
                <c:pt idx="0">
                  <c:v>102167</c:v>
                </c:pt>
                <c:pt idx="1">
                  <c:v>103033</c:v>
                </c:pt>
                <c:pt idx="2">
                  <c:v>103196</c:v>
                </c:pt>
                <c:pt idx="3">
                  <c:v>103128</c:v>
                </c:pt>
                <c:pt idx="4">
                  <c:v>102787</c:v>
                </c:pt>
                <c:pt idx="5">
                  <c:v>103037</c:v>
                </c:pt>
                <c:pt idx="6">
                  <c:v>105061</c:v>
                </c:pt>
                <c:pt idx="7">
                  <c:v>106999</c:v>
                </c:pt>
                <c:pt idx="8">
                  <c:v>106891</c:v>
                </c:pt>
                <c:pt idx="9">
                  <c:v>106436</c:v>
                </c:pt>
                <c:pt idx="10">
                  <c:v>106176</c:v>
                </c:pt>
                <c:pt idx="11">
                  <c:v>105396</c:v>
                </c:pt>
                <c:pt idx="12">
                  <c:v>104549</c:v>
                </c:pt>
                <c:pt idx="13">
                  <c:v>104209</c:v>
                </c:pt>
                <c:pt idx="14">
                  <c:v>104024</c:v>
                </c:pt>
                <c:pt idx="15">
                  <c:v>103896</c:v>
                </c:pt>
                <c:pt idx="16">
                  <c:v>104050</c:v>
                </c:pt>
                <c:pt idx="17">
                  <c:v>104458</c:v>
                </c:pt>
                <c:pt idx="18">
                  <c:v>104300</c:v>
                </c:pt>
                <c:pt idx="19">
                  <c:v>103992</c:v>
                </c:pt>
                <c:pt idx="20">
                  <c:v>103909</c:v>
                </c:pt>
                <c:pt idx="21">
                  <c:v>104033</c:v>
                </c:pt>
                <c:pt idx="22">
                  <c:v>103952</c:v>
                </c:pt>
                <c:pt idx="23">
                  <c:v>103973</c:v>
                </c:pt>
                <c:pt idx="24">
                  <c:v>104119</c:v>
                </c:pt>
                <c:pt idx="25">
                  <c:v>104612</c:v>
                </c:pt>
                <c:pt idx="26">
                  <c:v>105182</c:v>
                </c:pt>
                <c:pt idx="27">
                  <c:v>105050</c:v>
                </c:pt>
                <c:pt idx="28">
                  <c:v>105035</c:v>
                </c:pt>
                <c:pt idx="29">
                  <c:v>105084</c:v>
                </c:pt>
                <c:pt idx="30">
                  <c:v>105011</c:v>
                </c:pt>
                <c:pt idx="31">
                  <c:v>104960</c:v>
                </c:pt>
                <c:pt idx="32">
                  <c:v>105079</c:v>
                </c:pt>
                <c:pt idx="33">
                  <c:v>104914</c:v>
                </c:pt>
                <c:pt idx="34">
                  <c:v>104895</c:v>
                </c:pt>
                <c:pt idx="35">
                  <c:v>104867</c:v>
                </c:pt>
                <c:pt idx="36">
                  <c:v>105042</c:v>
                </c:pt>
                <c:pt idx="37">
                  <c:v>105114</c:v>
                </c:pt>
                <c:pt idx="38">
                  <c:v>105055</c:v>
                </c:pt>
                <c:pt idx="39">
                  <c:v>104956</c:v>
                </c:pt>
                <c:pt idx="40">
                  <c:v>105190</c:v>
                </c:pt>
                <c:pt idx="41">
                  <c:v>105622</c:v>
                </c:pt>
                <c:pt idx="42">
                  <c:v>105488</c:v>
                </c:pt>
                <c:pt idx="43">
                  <c:v>105297</c:v>
                </c:pt>
                <c:pt idx="44">
                  <c:v>105724</c:v>
                </c:pt>
                <c:pt idx="45">
                  <c:v>106192</c:v>
                </c:pt>
                <c:pt idx="46">
                  <c:v>106544</c:v>
                </c:pt>
                <c:pt idx="47">
                  <c:v>106606</c:v>
                </c:pt>
                <c:pt idx="48">
                  <c:v>106757</c:v>
                </c:pt>
                <c:pt idx="49">
                  <c:v>107260</c:v>
                </c:pt>
                <c:pt idx="50">
                  <c:v>107225</c:v>
                </c:pt>
                <c:pt idx="51">
                  <c:v>107084</c:v>
                </c:pt>
                <c:pt idx="52">
                  <c:v>106857</c:v>
                </c:pt>
                <c:pt idx="53">
                  <c:v>106751</c:v>
                </c:pt>
                <c:pt idx="54">
                  <c:v>106964</c:v>
                </c:pt>
                <c:pt idx="55">
                  <c:v>107007</c:v>
                </c:pt>
                <c:pt idx="56">
                  <c:v>107356</c:v>
                </c:pt>
                <c:pt idx="57">
                  <c:v>108085</c:v>
                </c:pt>
                <c:pt idx="58">
                  <c:v>108302</c:v>
                </c:pt>
                <c:pt idx="59">
                  <c:v>108395</c:v>
                </c:pt>
                <c:pt idx="60">
                  <c:v>108441</c:v>
                </c:pt>
                <c:pt idx="61">
                  <c:v>108405</c:v>
                </c:pt>
                <c:pt idx="62">
                  <c:v>108250</c:v>
                </c:pt>
                <c:pt idx="63">
                  <c:v>108180</c:v>
                </c:pt>
                <c:pt idx="64">
                  <c:v>108245</c:v>
                </c:pt>
                <c:pt idx="65">
                  <c:v>108247</c:v>
                </c:pt>
                <c:pt idx="66">
                  <c:v>108199</c:v>
                </c:pt>
                <c:pt idx="67">
                  <c:v>108183</c:v>
                </c:pt>
                <c:pt idx="68">
                  <c:v>108574</c:v>
                </c:pt>
                <c:pt idx="69">
                  <c:v>109198</c:v>
                </c:pt>
                <c:pt idx="70">
                  <c:v>109203</c:v>
                </c:pt>
                <c:pt idx="71">
                  <c:v>108891</c:v>
                </c:pt>
                <c:pt idx="72">
                  <c:v>108651</c:v>
                </c:pt>
                <c:pt idx="73">
                  <c:v>108772</c:v>
                </c:pt>
                <c:pt idx="74">
                  <c:v>108940</c:v>
                </c:pt>
                <c:pt idx="75">
                  <c:v>108935</c:v>
                </c:pt>
                <c:pt idx="76">
                  <c:v>108873</c:v>
                </c:pt>
                <c:pt idx="77">
                  <c:v>108996</c:v>
                </c:pt>
                <c:pt idx="78">
                  <c:v>109463</c:v>
                </c:pt>
                <c:pt idx="79">
                  <c:v>109829</c:v>
                </c:pt>
                <c:pt idx="80">
                  <c:v>109827</c:v>
                </c:pt>
                <c:pt idx="81">
                  <c:v>109705</c:v>
                </c:pt>
                <c:pt idx="82">
                  <c:v>109705</c:v>
                </c:pt>
                <c:pt idx="83">
                  <c:v>109044</c:v>
                </c:pt>
                <c:pt idx="84">
                  <c:v>108515</c:v>
                </c:pt>
                <c:pt idx="85">
                  <c:v>108412</c:v>
                </c:pt>
                <c:pt idx="86">
                  <c:v>108493</c:v>
                </c:pt>
                <c:pt idx="87">
                  <c:v>108443</c:v>
                </c:pt>
                <c:pt idx="88">
                  <c:v>108436</c:v>
                </c:pt>
                <c:pt idx="89">
                  <c:v>108604</c:v>
                </c:pt>
                <c:pt idx="90">
                  <c:v>109471</c:v>
                </c:pt>
                <c:pt idx="91">
                  <c:v>110391</c:v>
                </c:pt>
                <c:pt idx="92">
                  <c:v>110874</c:v>
                </c:pt>
                <c:pt idx="93">
                  <c:v>111207</c:v>
                </c:pt>
                <c:pt idx="94">
                  <c:v>111453</c:v>
                </c:pt>
                <c:pt idx="95">
                  <c:v>111649</c:v>
                </c:pt>
                <c:pt idx="96">
                  <c:v>111645</c:v>
                </c:pt>
                <c:pt idx="97">
                  <c:v>111657</c:v>
                </c:pt>
                <c:pt idx="98">
                  <c:v>111711</c:v>
                </c:pt>
                <c:pt idx="99">
                  <c:v>110815</c:v>
                </c:pt>
                <c:pt idx="100">
                  <c:v>110867</c:v>
                </c:pt>
                <c:pt idx="101">
                  <c:v>111110</c:v>
                </c:pt>
                <c:pt idx="102">
                  <c:v>111487</c:v>
                </c:pt>
                <c:pt idx="103">
                  <c:v>111450</c:v>
                </c:pt>
                <c:pt idx="104">
                  <c:v>111596</c:v>
                </c:pt>
                <c:pt idx="105">
                  <c:v>111966</c:v>
                </c:pt>
                <c:pt idx="106">
                  <c:v>113177</c:v>
                </c:pt>
                <c:pt idx="107">
                  <c:v>113411</c:v>
                </c:pt>
                <c:pt idx="108">
                  <c:v>112605</c:v>
                </c:pt>
                <c:pt idx="109">
                  <c:v>112414</c:v>
                </c:pt>
                <c:pt idx="110">
                  <c:v>112364</c:v>
                </c:pt>
                <c:pt idx="111">
                  <c:v>112311</c:v>
                </c:pt>
                <c:pt idx="112">
                  <c:v>112427</c:v>
                </c:pt>
                <c:pt idx="113">
                  <c:v>112403</c:v>
                </c:pt>
                <c:pt idx="114">
                  <c:v>112508</c:v>
                </c:pt>
                <c:pt idx="115">
                  <c:v>113320</c:v>
                </c:pt>
                <c:pt idx="116">
                  <c:v>113672</c:v>
                </c:pt>
                <c:pt idx="117">
                  <c:v>114231</c:v>
                </c:pt>
                <c:pt idx="118">
                  <c:v>114498</c:v>
                </c:pt>
                <c:pt idx="119">
                  <c:v>114268</c:v>
                </c:pt>
                <c:pt idx="120">
                  <c:v>114037</c:v>
                </c:pt>
                <c:pt idx="121">
                  <c:v>113797</c:v>
                </c:pt>
                <c:pt idx="122">
                  <c:v>114062</c:v>
                </c:pt>
                <c:pt idx="123">
                  <c:v>114211</c:v>
                </c:pt>
                <c:pt idx="124">
                  <c:v>114290</c:v>
                </c:pt>
                <c:pt idx="125">
                  <c:v>114318</c:v>
                </c:pt>
                <c:pt idx="126">
                  <c:v>114439</c:v>
                </c:pt>
                <c:pt idx="127">
                  <c:v>114463</c:v>
                </c:pt>
                <c:pt idx="128">
                  <c:v>114343</c:v>
                </c:pt>
                <c:pt idx="129">
                  <c:v>114322</c:v>
                </c:pt>
                <c:pt idx="130">
                  <c:v>114083</c:v>
                </c:pt>
                <c:pt idx="131">
                  <c:v>113675</c:v>
                </c:pt>
                <c:pt idx="132">
                  <c:v>113632</c:v>
                </c:pt>
                <c:pt idx="133">
                  <c:v>113685</c:v>
                </c:pt>
                <c:pt idx="134">
                  <c:v>114107</c:v>
                </c:pt>
                <c:pt idx="135">
                  <c:v>114573</c:v>
                </c:pt>
                <c:pt idx="136">
                  <c:v>114698</c:v>
                </c:pt>
                <c:pt idx="137">
                  <c:v>114811</c:v>
                </c:pt>
                <c:pt idx="138">
                  <c:v>115121</c:v>
                </c:pt>
                <c:pt idx="139">
                  <c:v>115251</c:v>
                </c:pt>
                <c:pt idx="140">
                  <c:v>115216</c:v>
                </c:pt>
                <c:pt idx="141">
                  <c:v>115369</c:v>
                </c:pt>
                <c:pt idx="142">
                  <c:v>115480</c:v>
                </c:pt>
                <c:pt idx="143">
                  <c:v>115797</c:v>
                </c:pt>
                <c:pt idx="144">
                  <c:v>116010</c:v>
                </c:pt>
                <c:pt idx="145">
                  <c:v>115514</c:v>
                </c:pt>
                <c:pt idx="146">
                  <c:v>114936</c:v>
                </c:pt>
                <c:pt idx="147">
                  <c:v>114943</c:v>
                </c:pt>
                <c:pt idx="148">
                  <c:v>114822</c:v>
                </c:pt>
                <c:pt idx="149">
                  <c:v>114723</c:v>
                </c:pt>
                <c:pt idx="150">
                  <c:v>114710</c:v>
                </c:pt>
                <c:pt idx="151">
                  <c:v>115205</c:v>
                </c:pt>
                <c:pt idx="152">
                  <c:v>116372</c:v>
                </c:pt>
                <c:pt idx="153">
                  <c:v>117689</c:v>
                </c:pt>
                <c:pt idx="154">
                  <c:v>118343</c:v>
                </c:pt>
                <c:pt idx="155">
                  <c:v>118714</c:v>
                </c:pt>
                <c:pt idx="156">
                  <c:v>119253</c:v>
                </c:pt>
                <c:pt idx="157">
                  <c:v>119610</c:v>
                </c:pt>
                <c:pt idx="158">
                  <c:v>119762</c:v>
                </c:pt>
                <c:pt idx="159">
                  <c:v>119732</c:v>
                </c:pt>
                <c:pt idx="160">
                  <c:v>119598</c:v>
                </c:pt>
                <c:pt idx="161">
                  <c:v>120087</c:v>
                </c:pt>
                <c:pt idx="162">
                  <c:v>120564</c:v>
                </c:pt>
                <c:pt idx="163">
                  <c:v>120906</c:v>
                </c:pt>
                <c:pt idx="164">
                  <c:v>121333</c:v>
                </c:pt>
                <c:pt idx="165">
                  <c:v>121558</c:v>
                </c:pt>
                <c:pt idx="166">
                  <c:v>121787</c:v>
                </c:pt>
                <c:pt idx="167">
                  <c:v>122204</c:v>
                </c:pt>
                <c:pt idx="168">
                  <c:v>122191</c:v>
                </c:pt>
                <c:pt idx="169">
                  <c:v>122324</c:v>
                </c:pt>
                <c:pt idx="170">
                  <c:v>122285</c:v>
                </c:pt>
                <c:pt idx="171">
                  <c:v>122100</c:v>
                </c:pt>
                <c:pt idx="172">
                  <c:v>122113</c:v>
                </c:pt>
                <c:pt idx="173">
                  <c:v>122313</c:v>
                </c:pt>
                <c:pt idx="174">
                  <c:v>122354</c:v>
                </c:pt>
                <c:pt idx="175">
                  <c:v>122346</c:v>
                </c:pt>
                <c:pt idx="176">
                  <c:v>122408</c:v>
                </c:pt>
                <c:pt idx="177">
                  <c:v>122822</c:v>
                </c:pt>
                <c:pt idx="178">
                  <c:v>123014</c:v>
                </c:pt>
                <c:pt idx="179">
                  <c:v>123285</c:v>
                </c:pt>
                <c:pt idx="180">
                  <c:v>123304</c:v>
                </c:pt>
                <c:pt idx="181">
                  <c:v>123088</c:v>
                </c:pt>
                <c:pt idx="182">
                  <c:v>122930</c:v>
                </c:pt>
                <c:pt idx="183">
                  <c:v>122875</c:v>
                </c:pt>
                <c:pt idx="184">
                  <c:v>121502</c:v>
                </c:pt>
                <c:pt idx="185">
                  <c:v>120326</c:v>
                </c:pt>
                <c:pt idx="186">
                  <c:v>120103</c:v>
                </c:pt>
                <c:pt idx="187">
                  <c:v>120591</c:v>
                </c:pt>
                <c:pt idx="188">
                  <c:v>121323</c:v>
                </c:pt>
                <c:pt idx="189">
                  <c:v>122033</c:v>
                </c:pt>
                <c:pt idx="190">
                  <c:v>122356</c:v>
                </c:pt>
                <c:pt idx="191">
                  <c:v>123687</c:v>
                </c:pt>
                <c:pt idx="192">
                  <c:v>125118</c:v>
                </c:pt>
                <c:pt idx="193">
                  <c:v>125684</c:v>
                </c:pt>
                <c:pt idx="194">
                  <c:v>125618</c:v>
                </c:pt>
                <c:pt idx="195">
                  <c:v>125484</c:v>
                </c:pt>
                <c:pt idx="196">
                  <c:v>125453</c:v>
                </c:pt>
                <c:pt idx="197">
                  <c:v>125329</c:v>
                </c:pt>
                <c:pt idx="198">
                  <c:v>125431</c:v>
                </c:pt>
                <c:pt idx="199">
                  <c:v>125423</c:v>
                </c:pt>
                <c:pt idx="200">
                  <c:v>125406</c:v>
                </c:pt>
                <c:pt idx="201">
                  <c:v>125372</c:v>
                </c:pt>
                <c:pt idx="202">
                  <c:v>125253</c:v>
                </c:pt>
                <c:pt idx="203">
                  <c:v>125155</c:v>
                </c:pt>
                <c:pt idx="204">
                  <c:v>125378</c:v>
                </c:pt>
                <c:pt idx="205">
                  <c:v>125506</c:v>
                </c:pt>
                <c:pt idx="206">
                  <c:v>125508</c:v>
                </c:pt>
                <c:pt idx="207">
                  <c:v>125507</c:v>
                </c:pt>
                <c:pt idx="208">
                  <c:v>125581</c:v>
                </c:pt>
                <c:pt idx="209">
                  <c:v>125457</c:v>
                </c:pt>
                <c:pt idx="210">
                  <c:v>125281</c:v>
                </c:pt>
                <c:pt idx="211">
                  <c:v>124986</c:v>
                </c:pt>
                <c:pt idx="212">
                  <c:v>124764</c:v>
                </c:pt>
                <c:pt idx="213">
                  <c:v>124615</c:v>
                </c:pt>
                <c:pt idx="214">
                  <c:v>124656</c:v>
                </c:pt>
                <c:pt idx="215">
                  <c:v>124604</c:v>
                </c:pt>
                <c:pt idx="216">
                  <c:v>124609</c:v>
                </c:pt>
                <c:pt idx="217">
                  <c:v>124485</c:v>
                </c:pt>
                <c:pt idx="218">
                  <c:v>124282</c:v>
                </c:pt>
                <c:pt idx="219">
                  <c:v>124191</c:v>
                </c:pt>
                <c:pt idx="220">
                  <c:v>123933</c:v>
                </c:pt>
                <c:pt idx="221">
                  <c:v>123506</c:v>
                </c:pt>
                <c:pt idx="222">
                  <c:v>123233</c:v>
                </c:pt>
                <c:pt idx="223">
                  <c:v>123140</c:v>
                </c:pt>
                <c:pt idx="224">
                  <c:v>123122</c:v>
                </c:pt>
                <c:pt idx="225">
                  <c:v>123391</c:v>
                </c:pt>
                <c:pt idx="226">
                  <c:v>123261</c:v>
                </c:pt>
                <c:pt idx="227">
                  <c:v>123491</c:v>
                </c:pt>
                <c:pt idx="228">
                  <c:v>123668</c:v>
                </c:pt>
                <c:pt idx="229">
                  <c:v>123840</c:v>
                </c:pt>
                <c:pt idx="230">
                  <c:v>123923</c:v>
                </c:pt>
                <c:pt idx="231">
                  <c:v>124042</c:v>
                </c:pt>
                <c:pt idx="232">
                  <c:v>123948</c:v>
                </c:pt>
                <c:pt idx="233">
                  <c:v>124221</c:v>
                </c:pt>
                <c:pt idx="234">
                  <c:v>124202</c:v>
                </c:pt>
                <c:pt idx="235">
                  <c:v>124001</c:v>
                </c:pt>
                <c:pt idx="236">
                  <c:v>123938</c:v>
                </c:pt>
                <c:pt idx="237">
                  <c:v>123817</c:v>
                </c:pt>
                <c:pt idx="238">
                  <c:v>123696</c:v>
                </c:pt>
                <c:pt idx="239">
                  <c:v>123842</c:v>
                </c:pt>
                <c:pt idx="240">
                  <c:v>123862</c:v>
                </c:pt>
                <c:pt idx="241">
                  <c:v>123911</c:v>
                </c:pt>
                <c:pt idx="242">
                  <c:v>123840</c:v>
                </c:pt>
                <c:pt idx="243">
                  <c:v>122603</c:v>
                </c:pt>
                <c:pt idx="244">
                  <c:v>121689</c:v>
                </c:pt>
                <c:pt idx="245">
                  <c:v>120484</c:v>
                </c:pt>
                <c:pt idx="246">
                  <c:v>119624</c:v>
                </c:pt>
                <c:pt idx="247">
                  <c:v>119004</c:v>
                </c:pt>
                <c:pt idx="248">
                  <c:v>118329</c:v>
                </c:pt>
                <c:pt idx="249">
                  <c:v>117842</c:v>
                </c:pt>
                <c:pt idx="250">
                  <c:v>118637</c:v>
                </c:pt>
                <c:pt idx="251">
                  <c:v>119179</c:v>
                </c:pt>
                <c:pt idx="252">
                  <c:v>119942</c:v>
                </c:pt>
                <c:pt idx="253">
                  <c:v>120320</c:v>
                </c:pt>
                <c:pt idx="254">
                  <c:v>120578</c:v>
                </c:pt>
                <c:pt idx="255">
                  <c:v>120893</c:v>
                </c:pt>
                <c:pt idx="256">
                  <c:v>120991</c:v>
                </c:pt>
                <c:pt idx="257">
                  <c:v>121058</c:v>
                </c:pt>
                <c:pt idx="258">
                  <c:v>121176</c:v>
                </c:pt>
                <c:pt idx="259">
                  <c:v>121445</c:v>
                </c:pt>
                <c:pt idx="260">
                  <c:v>121534</c:v>
                </c:pt>
                <c:pt idx="261">
                  <c:v>121420</c:v>
                </c:pt>
                <c:pt idx="262">
                  <c:v>121388</c:v>
                </c:pt>
                <c:pt idx="263">
                  <c:v>121408</c:v>
                </c:pt>
                <c:pt idx="264">
                  <c:v>121233</c:v>
                </c:pt>
                <c:pt idx="265">
                  <c:v>121159</c:v>
                </c:pt>
                <c:pt idx="266">
                  <c:v>120908</c:v>
                </c:pt>
                <c:pt idx="267">
                  <c:v>120809</c:v>
                </c:pt>
                <c:pt idx="268">
                  <c:v>120884</c:v>
                </c:pt>
                <c:pt idx="269">
                  <c:v>120868</c:v>
                </c:pt>
                <c:pt idx="270">
                  <c:v>120791</c:v>
                </c:pt>
                <c:pt idx="271">
                  <c:v>120816</c:v>
                </c:pt>
                <c:pt idx="272">
                  <c:v>120784</c:v>
                </c:pt>
                <c:pt idx="273">
                  <c:v>120418</c:v>
                </c:pt>
                <c:pt idx="274">
                  <c:v>120140</c:v>
                </c:pt>
                <c:pt idx="275">
                  <c:v>119784</c:v>
                </c:pt>
                <c:pt idx="276">
                  <c:v>119659</c:v>
                </c:pt>
                <c:pt idx="277">
                  <c:v>119575</c:v>
                </c:pt>
                <c:pt idx="278">
                  <c:v>119440</c:v>
                </c:pt>
                <c:pt idx="279">
                  <c:v>119427</c:v>
                </c:pt>
                <c:pt idx="280">
                  <c:v>119591</c:v>
                </c:pt>
                <c:pt idx="281">
                  <c:v>119432</c:v>
                </c:pt>
                <c:pt idx="282">
                  <c:v>119304</c:v>
                </c:pt>
                <c:pt idx="283">
                  <c:v>119017</c:v>
                </c:pt>
                <c:pt idx="284">
                  <c:v>118592</c:v>
                </c:pt>
                <c:pt idx="285">
                  <c:v>118405</c:v>
                </c:pt>
                <c:pt idx="286">
                  <c:v>118221</c:v>
                </c:pt>
                <c:pt idx="287">
                  <c:v>118103</c:v>
                </c:pt>
                <c:pt idx="288">
                  <c:v>118040</c:v>
                </c:pt>
                <c:pt idx="289">
                  <c:v>118134</c:v>
                </c:pt>
                <c:pt idx="290">
                  <c:v>118424</c:v>
                </c:pt>
                <c:pt idx="291">
                  <c:v>118824</c:v>
                </c:pt>
                <c:pt idx="292">
                  <c:v>118808</c:v>
                </c:pt>
                <c:pt idx="293">
                  <c:v>118656</c:v>
                </c:pt>
                <c:pt idx="294">
                  <c:v>118670</c:v>
                </c:pt>
                <c:pt idx="295">
                  <c:v>118805</c:v>
                </c:pt>
                <c:pt idx="296">
                  <c:v>118763</c:v>
                </c:pt>
                <c:pt idx="297">
                  <c:v>118506</c:v>
                </c:pt>
                <c:pt idx="298">
                  <c:v>118220</c:v>
                </c:pt>
                <c:pt idx="299">
                  <c:v>117658</c:v>
                </c:pt>
                <c:pt idx="300">
                  <c:v>117232</c:v>
                </c:pt>
                <c:pt idx="301">
                  <c:v>116577</c:v>
                </c:pt>
                <c:pt idx="302">
                  <c:v>115799</c:v>
                </c:pt>
                <c:pt idx="303">
                  <c:v>114694</c:v>
                </c:pt>
                <c:pt idx="304">
                  <c:v>113614</c:v>
                </c:pt>
                <c:pt idx="305">
                  <c:v>113062</c:v>
                </c:pt>
                <c:pt idx="306">
                  <c:v>112916</c:v>
                </c:pt>
                <c:pt idx="307">
                  <c:v>112929</c:v>
                </c:pt>
                <c:pt idx="308">
                  <c:v>112870</c:v>
                </c:pt>
                <c:pt idx="309">
                  <c:v>112905</c:v>
                </c:pt>
                <c:pt idx="310">
                  <c:v>113230</c:v>
                </c:pt>
                <c:pt idx="311">
                  <c:v>113745</c:v>
                </c:pt>
                <c:pt idx="312">
                  <c:v>113627</c:v>
                </c:pt>
                <c:pt idx="313">
                  <c:v>113634</c:v>
                </c:pt>
                <c:pt idx="314">
                  <c:v>113111</c:v>
                </c:pt>
                <c:pt idx="315">
                  <c:v>112999</c:v>
                </c:pt>
                <c:pt idx="316">
                  <c:v>112996</c:v>
                </c:pt>
                <c:pt idx="317">
                  <c:v>113081</c:v>
                </c:pt>
                <c:pt idx="318">
                  <c:v>113181</c:v>
                </c:pt>
                <c:pt idx="319">
                  <c:v>113160</c:v>
                </c:pt>
                <c:pt idx="320">
                  <c:v>113057</c:v>
                </c:pt>
                <c:pt idx="321">
                  <c:v>113312</c:v>
                </c:pt>
                <c:pt idx="322">
                  <c:v>113319</c:v>
                </c:pt>
                <c:pt idx="323">
                  <c:v>113185</c:v>
                </c:pt>
                <c:pt idx="324">
                  <c:v>113017</c:v>
                </c:pt>
                <c:pt idx="325">
                  <c:v>113000</c:v>
                </c:pt>
                <c:pt idx="326">
                  <c:v>113222</c:v>
                </c:pt>
                <c:pt idx="327">
                  <c:v>113397</c:v>
                </c:pt>
                <c:pt idx="328">
                  <c:v>113148</c:v>
                </c:pt>
                <c:pt idx="329">
                  <c:v>113045</c:v>
                </c:pt>
                <c:pt idx="330">
                  <c:v>113146</c:v>
                </c:pt>
                <c:pt idx="331">
                  <c:v>111726</c:v>
                </c:pt>
                <c:pt idx="332">
                  <c:v>109652</c:v>
                </c:pt>
                <c:pt idx="333">
                  <c:v>109376</c:v>
                </c:pt>
                <c:pt idx="334">
                  <c:v>109789</c:v>
                </c:pt>
                <c:pt idx="335">
                  <c:v>110335</c:v>
                </c:pt>
                <c:pt idx="336">
                  <c:v>110608</c:v>
                </c:pt>
                <c:pt idx="337">
                  <c:v>110739</c:v>
                </c:pt>
                <c:pt idx="338">
                  <c:v>112247</c:v>
                </c:pt>
                <c:pt idx="339">
                  <c:v>114178</c:v>
                </c:pt>
                <c:pt idx="340">
                  <c:v>114148</c:v>
                </c:pt>
                <c:pt idx="341">
                  <c:v>113480</c:v>
                </c:pt>
                <c:pt idx="342">
                  <c:v>112977</c:v>
                </c:pt>
                <c:pt idx="343">
                  <c:v>112666</c:v>
                </c:pt>
                <c:pt idx="344">
                  <c:v>112482</c:v>
                </c:pt>
                <c:pt idx="345">
                  <c:v>112586</c:v>
                </c:pt>
                <c:pt idx="346">
                  <c:v>112541</c:v>
                </c:pt>
                <c:pt idx="347">
                  <c:v>112630</c:v>
                </c:pt>
                <c:pt idx="348">
                  <c:v>112699</c:v>
                </c:pt>
                <c:pt idx="349">
                  <c:v>112960</c:v>
                </c:pt>
                <c:pt idx="350">
                  <c:v>113087</c:v>
                </c:pt>
                <c:pt idx="351">
                  <c:v>113424</c:v>
                </c:pt>
                <c:pt idx="352">
                  <c:v>113870</c:v>
                </c:pt>
                <c:pt idx="353">
                  <c:v>114577</c:v>
                </c:pt>
                <c:pt idx="354">
                  <c:v>115925</c:v>
                </c:pt>
                <c:pt idx="355">
                  <c:v>116823</c:v>
                </c:pt>
                <c:pt idx="356">
                  <c:v>116967</c:v>
                </c:pt>
                <c:pt idx="357">
                  <c:v>115534</c:v>
                </c:pt>
                <c:pt idx="358">
                  <c:v>111321</c:v>
                </c:pt>
                <c:pt idx="359">
                  <c:v>109471</c:v>
                </c:pt>
                <c:pt idx="360">
                  <c:v>108607</c:v>
                </c:pt>
                <c:pt idx="361">
                  <c:v>108049</c:v>
                </c:pt>
                <c:pt idx="362">
                  <c:v>107679</c:v>
                </c:pt>
                <c:pt idx="363">
                  <c:v>107173</c:v>
                </c:pt>
                <c:pt idx="364">
                  <c:v>1071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3A1-47F3-B2B3-E43447D576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80419240"/>
        <c:axId val="880421536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'Ark1'!$C$2</c15:sqref>
                        </c15:formulaRef>
                      </c:ext>
                    </c:extLst>
                    <c:strCache>
                      <c:ptCount val="1"/>
                      <c:pt idx="0">
                        <c:v>2021 7-day moving average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Ark1'!$A$3:$A$367</c15:sqref>
                        </c15:formulaRef>
                      </c:ext>
                    </c:extLst>
                    <c:numCache>
                      <c:formatCode>[$-40C]d\-mmm;@</c:formatCode>
                      <c:ptCount val="365"/>
                      <c:pt idx="0">
                        <c:v>43831</c:v>
                      </c:pt>
                      <c:pt idx="1">
                        <c:v>43832</c:v>
                      </c:pt>
                      <c:pt idx="2">
                        <c:v>43833</c:v>
                      </c:pt>
                      <c:pt idx="3">
                        <c:v>43834</c:v>
                      </c:pt>
                      <c:pt idx="4">
                        <c:v>43835</c:v>
                      </c:pt>
                      <c:pt idx="5">
                        <c:v>43836</c:v>
                      </c:pt>
                      <c:pt idx="6">
                        <c:v>43837</c:v>
                      </c:pt>
                      <c:pt idx="7">
                        <c:v>43838</c:v>
                      </c:pt>
                      <c:pt idx="8">
                        <c:v>43839</c:v>
                      </c:pt>
                      <c:pt idx="9">
                        <c:v>43840</c:v>
                      </c:pt>
                      <c:pt idx="10">
                        <c:v>43841</c:v>
                      </c:pt>
                      <c:pt idx="11">
                        <c:v>43842</c:v>
                      </c:pt>
                      <c:pt idx="12">
                        <c:v>43843</c:v>
                      </c:pt>
                      <c:pt idx="13">
                        <c:v>43844</c:v>
                      </c:pt>
                      <c:pt idx="14">
                        <c:v>43845</c:v>
                      </c:pt>
                      <c:pt idx="15">
                        <c:v>43846</c:v>
                      </c:pt>
                      <c:pt idx="16">
                        <c:v>43847</c:v>
                      </c:pt>
                      <c:pt idx="17">
                        <c:v>43848</c:v>
                      </c:pt>
                      <c:pt idx="18">
                        <c:v>43849</c:v>
                      </c:pt>
                      <c:pt idx="19">
                        <c:v>43850</c:v>
                      </c:pt>
                      <c:pt idx="20">
                        <c:v>43851</c:v>
                      </c:pt>
                      <c:pt idx="21">
                        <c:v>43852</c:v>
                      </c:pt>
                      <c:pt idx="22">
                        <c:v>43853</c:v>
                      </c:pt>
                      <c:pt idx="23">
                        <c:v>43854</c:v>
                      </c:pt>
                      <c:pt idx="24">
                        <c:v>43855</c:v>
                      </c:pt>
                      <c:pt idx="25">
                        <c:v>43856</c:v>
                      </c:pt>
                      <c:pt idx="26">
                        <c:v>43857</c:v>
                      </c:pt>
                      <c:pt idx="27">
                        <c:v>43858</c:v>
                      </c:pt>
                      <c:pt idx="28">
                        <c:v>43859</c:v>
                      </c:pt>
                      <c:pt idx="29">
                        <c:v>43860</c:v>
                      </c:pt>
                      <c:pt idx="30">
                        <c:v>43861</c:v>
                      </c:pt>
                      <c:pt idx="31">
                        <c:v>43862</c:v>
                      </c:pt>
                      <c:pt idx="32">
                        <c:v>43863</c:v>
                      </c:pt>
                      <c:pt idx="33">
                        <c:v>43864</c:v>
                      </c:pt>
                      <c:pt idx="34">
                        <c:v>43865</c:v>
                      </c:pt>
                      <c:pt idx="35">
                        <c:v>43866</c:v>
                      </c:pt>
                      <c:pt idx="36">
                        <c:v>43867</c:v>
                      </c:pt>
                      <c:pt idx="37">
                        <c:v>43868</c:v>
                      </c:pt>
                      <c:pt idx="38">
                        <c:v>43869</c:v>
                      </c:pt>
                      <c:pt idx="39">
                        <c:v>43870</c:v>
                      </c:pt>
                      <c:pt idx="40">
                        <c:v>43871</c:v>
                      </c:pt>
                      <c:pt idx="41">
                        <c:v>43872</c:v>
                      </c:pt>
                      <c:pt idx="42">
                        <c:v>43873</c:v>
                      </c:pt>
                      <c:pt idx="43">
                        <c:v>43874</c:v>
                      </c:pt>
                      <c:pt idx="44">
                        <c:v>43875</c:v>
                      </c:pt>
                      <c:pt idx="45">
                        <c:v>43876</c:v>
                      </c:pt>
                      <c:pt idx="46">
                        <c:v>43877</c:v>
                      </c:pt>
                      <c:pt idx="47">
                        <c:v>43878</c:v>
                      </c:pt>
                      <c:pt idx="48">
                        <c:v>43879</c:v>
                      </c:pt>
                      <c:pt idx="49">
                        <c:v>43880</c:v>
                      </c:pt>
                      <c:pt idx="50">
                        <c:v>43881</c:v>
                      </c:pt>
                      <c:pt idx="51">
                        <c:v>43882</c:v>
                      </c:pt>
                      <c:pt idx="52">
                        <c:v>43883</c:v>
                      </c:pt>
                      <c:pt idx="53">
                        <c:v>43884</c:v>
                      </c:pt>
                      <c:pt idx="54">
                        <c:v>43885</c:v>
                      </c:pt>
                      <c:pt idx="55">
                        <c:v>43886</c:v>
                      </c:pt>
                      <c:pt idx="56">
                        <c:v>43887</c:v>
                      </c:pt>
                      <c:pt idx="57">
                        <c:v>43888</c:v>
                      </c:pt>
                      <c:pt idx="58">
                        <c:v>43889</c:v>
                      </c:pt>
                      <c:pt idx="59">
                        <c:v>43891</c:v>
                      </c:pt>
                      <c:pt idx="60">
                        <c:v>43892</c:v>
                      </c:pt>
                      <c:pt idx="61">
                        <c:v>43893</c:v>
                      </c:pt>
                      <c:pt idx="62">
                        <c:v>43894</c:v>
                      </c:pt>
                      <c:pt idx="63">
                        <c:v>43895</c:v>
                      </c:pt>
                      <c:pt idx="64">
                        <c:v>43896</c:v>
                      </c:pt>
                      <c:pt idx="65">
                        <c:v>43897</c:v>
                      </c:pt>
                      <c:pt idx="66">
                        <c:v>43898</c:v>
                      </c:pt>
                      <c:pt idx="67">
                        <c:v>43899</c:v>
                      </c:pt>
                      <c:pt idx="68">
                        <c:v>43900</c:v>
                      </c:pt>
                      <c:pt idx="69">
                        <c:v>43901</c:v>
                      </c:pt>
                      <c:pt idx="70">
                        <c:v>43902</c:v>
                      </c:pt>
                      <c:pt idx="71">
                        <c:v>43903</c:v>
                      </c:pt>
                      <c:pt idx="72">
                        <c:v>43904</c:v>
                      </c:pt>
                      <c:pt idx="73">
                        <c:v>43905</c:v>
                      </c:pt>
                      <c:pt idx="74">
                        <c:v>43906</c:v>
                      </c:pt>
                      <c:pt idx="75">
                        <c:v>43907</c:v>
                      </c:pt>
                      <c:pt idx="76">
                        <c:v>43908</c:v>
                      </c:pt>
                      <c:pt idx="77">
                        <c:v>43909</c:v>
                      </c:pt>
                      <c:pt idx="78">
                        <c:v>43910</c:v>
                      </c:pt>
                      <c:pt idx="79">
                        <c:v>43911</c:v>
                      </c:pt>
                      <c:pt idx="80">
                        <c:v>43912</c:v>
                      </c:pt>
                      <c:pt idx="81">
                        <c:v>43913</c:v>
                      </c:pt>
                      <c:pt idx="82">
                        <c:v>43914</c:v>
                      </c:pt>
                      <c:pt idx="83">
                        <c:v>43915</c:v>
                      </c:pt>
                      <c:pt idx="84">
                        <c:v>43916</c:v>
                      </c:pt>
                      <c:pt idx="85">
                        <c:v>43917</c:v>
                      </c:pt>
                      <c:pt idx="86">
                        <c:v>43918</c:v>
                      </c:pt>
                      <c:pt idx="87">
                        <c:v>43919</c:v>
                      </c:pt>
                      <c:pt idx="88">
                        <c:v>43920</c:v>
                      </c:pt>
                      <c:pt idx="89">
                        <c:v>43921</c:v>
                      </c:pt>
                      <c:pt idx="90">
                        <c:v>43922</c:v>
                      </c:pt>
                      <c:pt idx="91">
                        <c:v>43923</c:v>
                      </c:pt>
                      <c:pt idx="92">
                        <c:v>43924</c:v>
                      </c:pt>
                      <c:pt idx="93">
                        <c:v>43925</c:v>
                      </c:pt>
                      <c:pt idx="94">
                        <c:v>43926</c:v>
                      </c:pt>
                      <c:pt idx="95">
                        <c:v>43927</c:v>
                      </c:pt>
                      <c:pt idx="96">
                        <c:v>43928</c:v>
                      </c:pt>
                      <c:pt idx="97">
                        <c:v>43929</c:v>
                      </c:pt>
                      <c:pt idx="98">
                        <c:v>43930</c:v>
                      </c:pt>
                      <c:pt idx="99">
                        <c:v>43931</c:v>
                      </c:pt>
                      <c:pt idx="100">
                        <c:v>43932</c:v>
                      </c:pt>
                      <c:pt idx="101">
                        <c:v>43933</c:v>
                      </c:pt>
                      <c:pt idx="102">
                        <c:v>43934</c:v>
                      </c:pt>
                      <c:pt idx="103">
                        <c:v>43935</c:v>
                      </c:pt>
                      <c:pt idx="104">
                        <c:v>43936</c:v>
                      </c:pt>
                      <c:pt idx="105">
                        <c:v>43937</c:v>
                      </c:pt>
                      <c:pt idx="106">
                        <c:v>43938</c:v>
                      </c:pt>
                      <c:pt idx="107">
                        <c:v>43939</c:v>
                      </c:pt>
                      <c:pt idx="108">
                        <c:v>43940</c:v>
                      </c:pt>
                      <c:pt idx="109">
                        <c:v>43941</c:v>
                      </c:pt>
                      <c:pt idx="110">
                        <c:v>43942</c:v>
                      </c:pt>
                      <c:pt idx="111">
                        <c:v>43943</c:v>
                      </c:pt>
                      <c:pt idx="112">
                        <c:v>43944</c:v>
                      </c:pt>
                      <c:pt idx="113">
                        <c:v>43945</c:v>
                      </c:pt>
                      <c:pt idx="114">
                        <c:v>43946</c:v>
                      </c:pt>
                      <c:pt idx="115">
                        <c:v>43947</c:v>
                      </c:pt>
                      <c:pt idx="116">
                        <c:v>43948</c:v>
                      </c:pt>
                      <c:pt idx="117">
                        <c:v>43949</c:v>
                      </c:pt>
                      <c:pt idx="118">
                        <c:v>43950</c:v>
                      </c:pt>
                      <c:pt idx="119">
                        <c:v>43951</c:v>
                      </c:pt>
                      <c:pt idx="120">
                        <c:v>43952</c:v>
                      </c:pt>
                      <c:pt idx="121">
                        <c:v>43953</c:v>
                      </c:pt>
                      <c:pt idx="122">
                        <c:v>43954</c:v>
                      </c:pt>
                      <c:pt idx="123">
                        <c:v>43955</c:v>
                      </c:pt>
                      <c:pt idx="124">
                        <c:v>43956</c:v>
                      </c:pt>
                      <c:pt idx="125">
                        <c:v>43957</c:v>
                      </c:pt>
                      <c:pt idx="126">
                        <c:v>43958</c:v>
                      </c:pt>
                      <c:pt idx="127">
                        <c:v>43959</c:v>
                      </c:pt>
                      <c:pt idx="128">
                        <c:v>43960</c:v>
                      </c:pt>
                      <c:pt idx="129">
                        <c:v>43961</c:v>
                      </c:pt>
                      <c:pt idx="130">
                        <c:v>43962</c:v>
                      </c:pt>
                      <c:pt idx="131">
                        <c:v>43963</c:v>
                      </c:pt>
                      <c:pt idx="132">
                        <c:v>43964</c:v>
                      </c:pt>
                      <c:pt idx="133">
                        <c:v>43965</c:v>
                      </c:pt>
                      <c:pt idx="134">
                        <c:v>43966</c:v>
                      </c:pt>
                      <c:pt idx="135">
                        <c:v>43967</c:v>
                      </c:pt>
                      <c:pt idx="136">
                        <c:v>43968</c:v>
                      </c:pt>
                      <c:pt idx="137">
                        <c:v>43969</c:v>
                      </c:pt>
                      <c:pt idx="138">
                        <c:v>43970</c:v>
                      </c:pt>
                      <c:pt idx="139">
                        <c:v>43971</c:v>
                      </c:pt>
                      <c:pt idx="140">
                        <c:v>43972</c:v>
                      </c:pt>
                      <c:pt idx="141">
                        <c:v>43973</c:v>
                      </c:pt>
                      <c:pt idx="142">
                        <c:v>43974</c:v>
                      </c:pt>
                      <c:pt idx="143">
                        <c:v>43975</c:v>
                      </c:pt>
                      <c:pt idx="144">
                        <c:v>43976</c:v>
                      </c:pt>
                      <c:pt idx="145">
                        <c:v>43977</c:v>
                      </c:pt>
                      <c:pt idx="146">
                        <c:v>43978</c:v>
                      </c:pt>
                      <c:pt idx="147">
                        <c:v>43979</c:v>
                      </c:pt>
                      <c:pt idx="148">
                        <c:v>43980</c:v>
                      </c:pt>
                      <c:pt idx="149">
                        <c:v>43981</c:v>
                      </c:pt>
                      <c:pt idx="150">
                        <c:v>43982</c:v>
                      </c:pt>
                      <c:pt idx="151">
                        <c:v>43983</c:v>
                      </c:pt>
                      <c:pt idx="152">
                        <c:v>43984</c:v>
                      </c:pt>
                      <c:pt idx="153">
                        <c:v>43985</c:v>
                      </c:pt>
                      <c:pt idx="154">
                        <c:v>43986</c:v>
                      </c:pt>
                      <c:pt idx="155">
                        <c:v>43987</c:v>
                      </c:pt>
                      <c:pt idx="156">
                        <c:v>43988</c:v>
                      </c:pt>
                      <c:pt idx="157">
                        <c:v>43989</c:v>
                      </c:pt>
                      <c:pt idx="158">
                        <c:v>43990</c:v>
                      </c:pt>
                      <c:pt idx="159">
                        <c:v>43991</c:v>
                      </c:pt>
                      <c:pt idx="160">
                        <c:v>43992</c:v>
                      </c:pt>
                      <c:pt idx="161">
                        <c:v>43993</c:v>
                      </c:pt>
                      <c:pt idx="162">
                        <c:v>43994</c:v>
                      </c:pt>
                      <c:pt idx="163">
                        <c:v>43995</c:v>
                      </c:pt>
                      <c:pt idx="164">
                        <c:v>43996</c:v>
                      </c:pt>
                      <c:pt idx="165">
                        <c:v>43997</c:v>
                      </c:pt>
                      <c:pt idx="166">
                        <c:v>43998</c:v>
                      </c:pt>
                      <c:pt idx="167">
                        <c:v>43999</c:v>
                      </c:pt>
                      <c:pt idx="168">
                        <c:v>44000</c:v>
                      </c:pt>
                      <c:pt idx="169">
                        <c:v>44001</c:v>
                      </c:pt>
                      <c:pt idx="170">
                        <c:v>44002</c:v>
                      </c:pt>
                      <c:pt idx="171">
                        <c:v>44003</c:v>
                      </c:pt>
                      <c:pt idx="172">
                        <c:v>44004</c:v>
                      </c:pt>
                      <c:pt idx="173">
                        <c:v>44005</c:v>
                      </c:pt>
                      <c:pt idx="174">
                        <c:v>44006</c:v>
                      </c:pt>
                      <c:pt idx="175">
                        <c:v>44007</c:v>
                      </c:pt>
                      <c:pt idx="176">
                        <c:v>44008</c:v>
                      </c:pt>
                      <c:pt idx="177">
                        <c:v>44009</c:v>
                      </c:pt>
                      <c:pt idx="178">
                        <c:v>44010</c:v>
                      </c:pt>
                      <c:pt idx="179">
                        <c:v>44011</c:v>
                      </c:pt>
                      <c:pt idx="180">
                        <c:v>44012</c:v>
                      </c:pt>
                      <c:pt idx="181">
                        <c:v>44013</c:v>
                      </c:pt>
                      <c:pt idx="182">
                        <c:v>44014</c:v>
                      </c:pt>
                      <c:pt idx="183">
                        <c:v>44015</c:v>
                      </c:pt>
                      <c:pt idx="184">
                        <c:v>44016</c:v>
                      </c:pt>
                      <c:pt idx="185">
                        <c:v>44017</c:v>
                      </c:pt>
                      <c:pt idx="186">
                        <c:v>44018</c:v>
                      </c:pt>
                      <c:pt idx="187">
                        <c:v>44019</c:v>
                      </c:pt>
                      <c:pt idx="188">
                        <c:v>44020</c:v>
                      </c:pt>
                      <c:pt idx="189">
                        <c:v>44021</c:v>
                      </c:pt>
                      <c:pt idx="190">
                        <c:v>44022</c:v>
                      </c:pt>
                      <c:pt idx="191">
                        <c:v>44023</c:v>
                      </c:pt>
                      <c:pt idx="192">
                        <c:v>44024</c:v>
                      </c:pt>
                      <c:pt idx="193">
                        <c:v>44025</c:v>
                      </c:pt>
                      <c:pt idx="194">
                        <c:v>44026</c:v>
                      </c:pt>
                      <c:pt idx="195">
                        <c:v>44027</c:v>
                      </c:pt>
                      <c:pt idx="196">
                        <c:v>44028</c:v>
                      </c:pt>
                      <c:pt idx="197">
                        <c:v>44029</c:v>
                      </c:pt>
                      <c:pt idx="198">
                        <c:v>44030</c:v>
                      </c:pt>
                      <c:pt idx="199">
                        <c:v>44031</c:v>
                      </c:pt>
                      <c:pt idx="200">
                        <c:v>44032</c:v>
                      </c:pt>
                      <c:pt idx="201">
                        <c:v>44033</c:v>
                      </c:pt>
                      <c:pt idx="202">
                        <c:v>44034</c:v>
                      </c:pt>
                      <c:pt idx="203">
                        <c:v>44035</c:v>
                      </c:pt>
                      <c:pt idx="204">
                        <c:v>44036</c:v>
                      </c:pt>
                      <c:pt idx="205">
                        <c:v>44037</c:v>
                      </c:pt>
                      <c:pt idx="206">
                        <c:v>44038</c:v>
                      </c:pt>
                      <c:pt idx="207">
                        <c:v>44039</c:v>
                      </c:pt>
                      <c:pt idx="208">
                        <c:v>44040</c:v>
                      </c:pt>
                      <c:pt idx="209">
                        <c:v>44041</c:v>
                      </c:pt>
                      <c:pt idx="210">
                        <c:v>44042</c:v>
                      </c:pt>
                      <c:pt idx="211">
                        <c:v>44043</c:v>
                      </c:pt>
                      <c:pt idx="212">
                        <c:v>44044</c:v>
                      </c:pt>
                      <c:pt idx="213">
                        <c:v>44045</c:v>
                      </c:pt>
                      <c:pt idx="214">
                        <c:v>44046</c:v>
                      </c:pt>
                      <c:pt idx="215">
                        <c:v>44047</c:v>
                      </c:pt>
                      <c:pt idx="216">
                        <c:v>44048</c:v>
                      </c:pt>
                      <c:pt idx="217">
                        <c:v>44049</c:v>
                      </c:pt>
                      <c:pt idx="218">
                        <c:v>44050</c:v>
                      </c:pt>
                      <c:pt idx="219">
                        <c:v>44051</c:v>
                      </c:pt>
                      <c:pt idx="220">
                        <c:v>44052</c:v>
                      </c:pt>
                      <c:pt idx="221">
                        <c:v>44053</c:v>
                      </c:pt>
                      <c:pt idx="222">
                        <c:v>44054</c:v>
                      </c:pt>
                      <c:pt idx="223">
                        <c:v>44055</c:v>
                      </c:pt>
                      <c:pt idx="224">
                        <c:v>44056</c:v>
                      </c:pt>
                      <c:pt idx="225">
                        <c:v>44057</c:v>
                      </c:pt>
                      <c:pt idx="226">
                        <c:v>44058</c:v>
                      </c:pt>
                      <c:pt idx="227">
                        <c:v>44059</c:v>
                      </c:pt>
                      <c:pt idx="228">
                        <c:v>44060</c:v>
                      </c:pt>
                      <c:pt idx="229">
                        <c:v>44061</c:v>
                      </c:pt>
                      <c:pt idx="230">
                        <c:v>44062</c:v>
                      </c:pt>
                      <c:pt idx="231">
                        <c:v>44063</c:v>
                      </c:pt>
                      <c:pt idx="232">
                        <c:v>44064</c:v>
                      </c:pt>
                      <c:pt idx="233">
                        <c:v>44065</c:v>
                      </c:pt>
                      <c:pt idx="234">
                        <c:v>44066</c:v>
                      </c:pt>
                      <c:pt idx="235">
                        <c:v>44067</c:v>
                      </c:pt>
                      <c:pt idx="236">
                        <c:v>44068</c:v>
                      </c:pt>
                      <c:pt idx="237">
                        <c:v>44069</c:v>
                      </c:pt>
                      <c:pt idx="238">
                        <c:v>44070</c:v>
                      </c:pt>
                      <c:pt idx="239">
                        <c:v>44071</c:v>
                      </c:pt>
                      <c:pt idx="240">
                        <c:v>44072</c:v>
                      </c:pt>
                      <c:pt idx="241">
                        <c:v>44073</c:v>
                      </c:pt>
                      <c:pt idx="242">
                        <c:v>44074</c:v>
                      </c:pt>
                      <c:pt idx="243">
                        <c:v>44075</c:v>
                      </c:pt>
                      <c:pt idx="244">
                        <c:v>44076</c:v>
                      </c:pt>
                      <c:pt idx="245">
                        <c:v>44077</c:v>
                      </c:pt>
                      <c:pt idx="246">
                        <c:v>44078</c:v>
                      </c:pt>
                      <c:pt idx="247">
                        <c:v>44079</c:v>
                      </c:pt>
                      <c:pt idx="248">
                        <c:v>44080</c:v>
                      </c:pt>
                      <c:pt idx="249">
                        <c:v>44081</c:v>
                      </c:pt>
                      <c:pt idx="250">
                        <c:v>44082</c:v>
                      </c:pt>
                      <c:pt idx="251">
                        <c:v>44083</c:v>
                      </c:pt>
                      <c:pt idx="252">
                        <c:v>44084</c:v>
                      </c:pt>
                      <c:pt idx="253">
                        <c:v>44085</c:v>
                      </c:pt>
                      <c:pt idx="254">
                        <c:v>44086</c:v>
                      </c:pt>
                      <c:pt idx="255">
                        <c:v>44087</c:v>
                      </c:pt>
                      <c:pt idx="256">
                        <c:v>44088</c:v>
                      </c:pt>
                      <c:pt idx="257">
                        <c:v>44089</c:v>
                      </c:pt>
                      <c:pt idx="258">
                        <c:v>44090</c:v>
                      </c:pt>
                      <c:pt idx="259">
                        <c:v>44091</c:v>
                      </c:pt>
                      <c:pt idx="260">
                        <c:v>44092</c:v>
                      </c:pt>
                      <c:pt idx="261">
                        <c:v>44093</c:v>
                      </c:pt>
                      <c:pt idx="262">
                        <c:v>44094</c:v>
                      </c:pt>
                      <c:pt idx="263">
                        <c:v>44095</c:v>
                      </c:pt>
                      <c:pt idx="264">
                        <c:v>44096</c:v>
                      </c:pt>
                      <c:pt idx="265">
                        <c:v>44097</c:v>
                      </c:pt>
                      <c:pt idx="266">
                        <c:v>44098</c:v>
                      </c:pt>
                      <c:pt idx="267">
                        <c:v>44099</c:v>
                      </c:pt>
                      <c:pt idx="268">
                        <c:v>44100</c:v>
                      </c:pt>
                      <c:pt idx="269">
                        <c:v>44101</c:v>
                      </c:pt>
                      <c:pt idx="270">
                        <c:v>44102</c:v>
                      </c:pt>
                      <c:pt idx="271">
                        <c:v>44103</c:v>
                      </c:pt>
                      <c:pt idx="272">
                        <c:v>44104</c:v>
                      </c:pt>
                      <c:pt idx="273">
                        <c:v>44105</c:v>
                      </c:pt>
                      <c:pt idx="274">
                        <c:v>44106</c:v>
                      </c:pt>
                      <c:pt idx="275">
                        <c:v>44107</c:v>
                      </c:pt>
                      <c:pt idx="276">
                        <c:v>44108</c:v>
                      </c:pt>
                      <c:pt idx="277">
                        <c:v>44109</c:v>
                      </c:pt>
                      <c:pt idx="278">
                        <c:v>44110</c:v>
                      </c:pt>
                      <c:pt idx="279">
                        <c:v>44111</c:v>
                      </c:pt>
                      <c:pt idx="280">
                        <c:v>44112</c:v>
                      </c:pt>
                      <c:pt idx="281">
                        <c:v>44113</c:v>
                      </c:pt>
                      <c:pt idx="282">
                        <c:v>44114</c:v>
                      </c:pt>
                      <c:pt idx="283">
                        <c:v>44115</c:v>
                      </c:pt>
                      <c:pt idx="284">
                        <c:v>44116</c:v>
                      </c:pt>
                      <c:pt idx="285">
                        <c:v>44117</c:v>
                      </c:pt>
                      <c:pt idx="286">
                        <c:v>44118</c:v>
                      </c:pt>
                      <c:pt idx="287">
                        <c:v>44119</c:v>
                      </c:pt>
                      <c:pt idx="288">
                        <c:v>44120</c:v>
                      </c:pt>
                      <c:pt idx="289">
                        <c:v>44121</c:v>
                      </c:pt>
                      <c:pt idx="290">
                        <c:v>44122</c:v>
                      </c:pt>
                      <c:pt idx="291">
                        <c:v>44123</c:v>
                      </c:pt>
                      <c:pt idx="292">
                        <c:v>44124</c:v>
                      </c:pt>
                      <c:pt idx="293">
                        <c:v>44125</c:v>
                      </c:pt>
                      <c:pt idx="294">
                        <c:v>44126</c:v>
                      </c:pt>
                      <c:pt idx="295">
                        <c:v>44127</c:v>
                      </c:pt>
                      <c:pt idx="296">
                        <c:v>44128</c:v>
                      </c:pt>
                      <c:pt idx="297">
                        <c:v>44129</c:v>
                      </c:pt>
                      <c:pt idx="298">
                        <c:v>44130</c:v>
                      </c:pt>
                      <c:pt idx="299">
                        <c:v>44131</c:v>
                      </c:pt>
                      <c:pt idx="300">
                        <c:v>44132</c:v>
                      </c:pt>
                      <c:pt idx="301">
                        <c:v>44133</c:v>
                      </c:pt>
                      <c:pt idx="302">
                        <c:v>44134</c:v>
                      </c:pt>
                      <c:pt idx="303">
                        <c:v>44135</c:v>
                      </c:pt>
                      <c:pt idx="304">
                        <c:v>44136</c:v>
                      </c:pt>
                      <c:pt idx="305">
                        <c:v>44137</c:v>
                      </c:pt>
                      <c:pt idx="306">
                        <c:v>44138</c:v>
                      </c:pt>
                      <c:pt idx="307">
                        <c:v>44139</c:v>
                      </c:pt>
                      <c:pt idx="308">
                        <c:v>44140</c:v>
                      </c:pt>
                      <c:pt idx="309">
                        <c:v>44141</c:v>
                      </c:pt>
                      <c:pt idx="310">
                        <c:v>44142</c:v>
                      </c:pt>
                      <c:pt idx="311">
                        <c:v>44143</c:v>
                      </c:pt>
                      <c:pt idx="312">
                        <c:v>44144</c:v>
                      </c:pt>
                      <c:pt idx="313">
                        <c:v>44145</c:v>
                      </c:pt>
                      <c:pt idx="314">
                        <c:v>44146</c:v>
                      </c:pt>
                      <c:pt idx="315">
                        <c:v>44147</c:v>
                      </c:pt>
                      <c:pt idx="316">
                        <c:v>44148</c:v>
                      </c:pt>
                      <c:pt idx="317">
                        <c:v>44149</c:v>
                      </c:pt>
                      <c:pt idx="318">
                        <c:v>44150</c:v>
                      </c:pt>
                      <c:pt idx="319">
                        <c:v>44151</c:v>
                      </c:pt>
                      <c:pt idx="320">
                        <c:v>44152</c:v>
                      </c:pt>
                      <c:pt idx="321">
                        <c:v>44153</c:v>
                      </c:pt>
                      <c:pt idx="322">
                        <c:v>44154</c:v>
                      </c:pt>
                      <c:pt idx="323">
                        <c:v>44155</c:v>
                      </c:pt>
                      <c:pt idx="324">
                        <c:v>44156</c:v>
                      </c:pt>
                      <c:pt idx="325">
                        <c:v>44157</c:v>
                      </c:pt>
                      <c:pt idx="326">
                        <c:v>44158</c:v>
                      </c:pt>
                      <c:pt idx="327">
                        <c:v>44159</c:v>
                      </c:pt>
                      <c:pt idx="328">
                        <c:v>44160</c:v>
                      </c:pt>
                      <c:pt idx="329">
                        <c:v>44161</c:v>
                      </c:pt>
                      <c:pt idx="330">
                        <c:v>44162</c:v>
                      </c:pt>
                      <c:pt idx="331">
                        <c:v>44163</c:v>
                      </c:pt>
                      <c:pt idx="332">
                        <c:v>44164</c:v>
                      </c:pt>
                      <c:pt idx="333">
                        <c:v>44165</c:v>
                      </c:pt>
                      <c:pt idx="334">
                        <c:v>44166</c:v>
                      </c:pt>
                      <c:pt idx="335">
                        <c:v>44167</c:v>
                      </c:pt>
                      <c:pt idx="336">
                        <c:v>44168</c:v>
                      </c:pt>
                      <c:pt idx="337">
                        <c:v>44169</c:v>
                      </c:pt>
                      <c:pt idx="338">
                        <c:v>44170</c:v>
                      </c:pt>
                      <c:pt idx="339">
                        <c:v>44171</c:v>
                      </c:pt>
                      <c:pt idx="340">
                        <c:v>44172</c:v>
                      </c:pt>
                      <c:pt idx="341">
                        <c:v>44173</c:v>
                      </c:pt>
                      <c:pt idx="342">
                        <c:v>44174</c:v>
                      </c:pt>
                      <c:pt idx="343">
                        <c:v>44175</c:v>
                      </c:pt>
                      <c:pt idx="344">
                        <c:v>44176</c:v>
                      </c:pt>
                      <c:pt idx="345">
                        <c:v>44177</c:v>
                      </c:pt>
                      <c:pt idx="346">
                        <c:v>44178</c:v>
                      </c:pt>
                      <c:pt idx="347">
                        <c:v>44179</c:v>
                      </c:pt>
                      <c:pt idx="348">
                        <c:v>44180</c:v>
                      </c:pt>
                      <c:pt idx="349">
                        <c:v>44181</c:v>
                      </c:pt>
                      <c:pt idx="350">
                        <c:v>44182</c:v>
                      </c:pt>
                      <c:pt idx="351">
                        <c:v>44183</c:v>
                      </c:pt>
                      <c:pt idx="352">
                        <c:v>44184</c:v>
                      </c:pt>
                      <c:pt idx="353">
                        <c:v>44185</c:v>
                      </c:pt>
                      <c:pt idx="354">
                        <c:v>44186</c:v>
                      </c:pt>
                      <c:pt idx="355">
                        <c:v>44187</c:v>
                      </c:pt>
                      <c:pt idx="356">
                        <c:v>44188</c:v>
                      </c:pt>
                      <c:pt idx="357">
                        <c:v>44189</c:v>
                      </c:pt>
                      <c:pt idx="358">
                        <c:v>44190</c:v>
                      </c:pt>
                      <c:pt idx="359">
                        <c:v>44191</c:v>
                      </c:pt>
                      <c:pt idx="360">
                        <c:v>44192</c:v>
                      </c:pt>
                      <c:pt idx="361">
                        <c:v>44193</c:v>
                      </c:pt>
                      <c:pt idx="362">
                        <c:v>44194</c:v>
                      </c:pt>
                      <c:pt idx="363">
                        <c:v>44195</c:v>
                      </c:pt>
                      <c:pt idx="364">
                        <c:v>44196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Ark1'!$C$3:$C$33</c15:sqref>
                        </c15:formulaRef>
                      </c:ext>
                    </c:extLst>
                    <c:numCache>
                      <c:formatCode>0.00</c:formatCode>
                      <c:ptCount val="31"/>
                      <c:pt idx="0">
                        <c:v>68909</c:v>
                      </c:pt>
                      <c:pt idx="1">
                        <c:v>69069</c:v>
                      </c:pt>
                      <c:pt idx="2">
                        <c:v>69390</c:v>
                      </c:pt>
                      <c:pt idx="3">
                        <c:v>69661</c:v>
                      </c:pt>
                      <c:pt idx="4">
                        <c:v>69282</c:v>
                      </c:pt>
                      <c:pt idx="5">
                        <c:v>68228</c:v>
                      </c:pt>
                      <c:pt idx="6">
                        <c:v>68545</c:v>
                      </c:pt>
                      <c:pt idx="7">
                        <c:v>70684</c:v>
                      </c:pt>
                      <c:pt idx="8">
                        <c:v>70113</c:v>
                      </c:pt>
                      <c:pt idx="9">
                        <c:v>68777</c:v>
                      </c:pt>
                      <c:pt idx="10">
                        <c:v>67768</c:v>
                      </c:pt>
                      <c:pt idx="11">
                        <c:v>67049</c:v>
                      </c:pt>
                      <c:pt idx="12">
                        <c:v>66773</c:v>
                      </c:pt>
                      <c:pt idx="13">
                        <c:v>66752</c:v>
                      </c:pt>
                      <c:pt idx="14">
                        <c:v>66700</c:v>
                      </c:pt>
                      <c:pt idx="15">
                        <c:v>66405</c:v>
                      </c:pt>
                      <c:pt idx="16">
                        <c:v>65930</c:v>
                      </c:pt>
                      <c:pt idx="17">
                        <c:v>65669</c:v>
                      </c:pt>
                      <c:pt idx="18">
                        <c:v>65366</c:v>
                      </c:pt>
                      <c:pt idx="19">
                        <c:v>65070</c:v>
                      </c:pt>
                      <c:pt idx="20">
                        <c:v>64695</c:v>
                      </c:pt>
                      <c:pt idx="21">
                        <c:v>64362</c:v>
                      </c:pt>
                      <c:pt idx="22">
                        <c:v>63774</c:v>
                      </c:pt>
                      <c:pt idx="23">
                        <c:v>63257</c:v>
                      </c:pt>
                      <c:pt idx="24">
                        <c:v>62728</c:v>
                      </c:pt>
                      <c:pt idx="25">
                        <c:v>62243</c:v>
                      </c:pt>
                      <c:pt idx="26">
                        <c:v>62042</c:v>
                      </c:pt>
                      <c:pt idx="27">
                        <c:v>61684</c:v>
                      </c:pt>
                      <c:pt idx="28">
                        <c:v>61373</c:v>
                      </c:pt>
                      <c:pt idx="29">
                        <c:v>61281</c:v>
                      </c:pt>
                      <c:pt idx="30">
                        <c:v>61047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2-63A1-47F3-B2B3-E43447D5766E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rk1'!$D$2</c15:sqref>
                        </c15:formulaRef>
                      </c:ext>
                    </c:extLst>
                    <c:strCache>
                      <c:ptCount val="1"/>
                      <c:pt idx="0">
                        <c:v>2020 7-day moving average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rk1'!$A$3:$A$367</c15:sqref>
                        </c15:formulaRef>
                      </c:ext>
                    </c:extLst>
                    <c:numCache>
                      <c:formatCode>[$-40C]d\-mmm;@</c:formatCode>
                      <c:ptCount val="365"/>
                      <c:pt idx="0">
                        <c:v>43831</c:v>
                      </c:pt>
                      <c:pt idx="1">
                        <c:v>43832</c:v>
                      </c:pt>
                      <c:pt idx="2">
                        <c:v>43833</c:v>
                      </c:pt>
                      <c:pt idx="3">
                        <c:v>43834</c:v>
                      </c:pt>
                      <c:pt idx="4">
                        <c:v>43835</c:v>
                      </c:pt>
                      <c:pt idx="5">
                        <c:v>43836</c:v>
                      </c:pt>
                      <c:pt idx="6">
                        <c:v>43837</c:v>
                      </c:pt>
                      <c:pt idx="7">
                        <c:v>43838</c:v>
                      </c:pt>
                      <c:pt idx="8">
                        <c:v>43839</c:v>
                      </c:pt>
                      <c:pt idx="9">
                        <c:v>43840</c:v>
                      </c:pt>
                      <c:pt idx="10">
                        <c:v>43841</c:v>
                      </c:pt>
                      <c:pt idx="11">
                        <c:v>43842</c:v>
                      </c:pt>
                      <c:pt idx="12">
                        <c:v>43843</c:v>
                      </c:pt>
                      <c:pt idx="13">
                        <c:v>43844</c:v>
                      </c:pt>
                      <c:pt idx="14">
                        <c:v>43845</c:v>
                      </c:pt>
                      <c:pt idx="15">
                        <c:v>43846</c:v>
                      </c:pt>
                      <c:pt idx="16">
                        <c:v>43847</c:v>
                      </c:pt>
                      <c:pt idx="17">
                        <c:v>43848</c:v>
                      </c:pt>
                      <c:pt idx="18">
                        <c:v>43849</c:v>
                      </c:pt>
                      <c:pt idx="19">
                        <c:v>43850</c:v>
                      </c:pt>
                      <c:pt idx="20">
                        <c:v>43851</c:v>
                      </c:pt>
                      <c:pt idx="21">
                        <c:v>43852</c:v>
                      </c:pt>
                      <c:pt idx="22">
                        <c:v>43853</c:v>
                      </c:pt>
                      <c:pt idx="23">
                        <c:v>43854</c:v>
                      </c:pt>
                      <c:pt idx="24">
                        <c:v>43855</c:v>
                      </c:pt>
                      <c:pt idx="25">
                        <c:v>43856</c:v>
                      </c:pt>
                      <c:pt idx="26">
                        <c:v>43857</c:v>
                      </c:pt>
                      <c:pt idx="27">
                        <c:v>43858</c:v>
                      </c:pt>
                      <c:pt idx="28">
                        <c:v>43859</c:v>
                      </c:pt>
                      <c:pt idx="29">
                        <c:v>43860</c:v>
                      </c:pt>
                      <c:pt idx="30">
                        <c:v>43861</c:v>
                      </c:pt>
                      <c:pt idx="31">
                        <c:v>43862</c:v>
                      </c:pt>
                      <c:pt idx="32">
                        <c:v>43863</c:v>
                      </c:pt>
                      <c:pt idx="33">
                        <c:v>43864</c:v>
                      </c:pt>
                      <c:pt idx="34">
                        <c:v>43865</c:v>
                      </c:pt>
                      <c:pt idx="35">
                        <c:v>43866</c:v>
                      </c:pt>
                      <c:pt idx="36">
                        <c:v>43867</c:v>
                      </c:pt>
                      <c:pt idx="37">
                        <c:v>43868</c:v>
                      </c:pt>
                      <c:pt idx="38">
                        <c:v>43869</c:v>
                      </c:pt>
                      <c:pt idx="39">
                        <c:v>43870</c:v>
                      </c:pt>
                      <c:pt idx="40">
                        <c:v>43871</c:v>
                      </c:pt>
                      <c:pt idx="41">
                        <c:v>43872</c:v>
                      </c:pt>
                      <c:pt idx="42">
                        <c:v>43873</c:v>
                      </c:pt>
                      <c:pt idx="43">
                        <c:v>43874</c:v>
                      </c:pt>
                      <c:pt idx="44">
                        <c:v>43875</c:v>
                      </c:pt>
                      <c:pt idx="45">
                        <c:v>43876</c:v>
                      </c:pt>
                      <c:pt idx="46">
                        <c:v>43877</c:v>
                      </c:pt>
                      <c:pt idx="47">
                        <c:v>43878</c:v>
                      </c:pt>
                      <c:pt idx="48">
                        <c:v>43879</c:v>
                      </c:pt>
                      <c:pt idx="49">
                        <c:v>43880</c:v>
                      </c:pt>
                      <c:pt idx="50">
                        <c:v>43881</c:v>
                      </c:pt>
                      <c:pt idx="51">
                        <c:v>43882</c:v>
                      </c:pt>
                      <c:pt idx="52">
                        <c:v>43883</c:v>
                      </c:pt>
                      <c:pt idx="53">
                        <c:v>43884</c:v>
                      </c:pt>
                      <c:pt idx="54">
                        <c:v>43885</c:v>
                      </c:pt>
                      <c:pt idx="55">
                        <c:v>43886</c:v>
                      </c:pt>
                      <c:pt idx="56">
                        <c:v>43887</c:v>
                      </c:pt>
                      <c:pt idx="57">
                        <c:v>43888</c:v>
                      </c:pt>
                      <c:pt idx="58">
                        <c:v>43889</c:v>
                      </c:pt>
                      <c:pt idx="59">
                        <c:v>43891</c:v>
                      </c:pt>
                      <c:pt idx="60">
                        <c:v>43892</c:v>
                      </c:pt>
                      <c:pt idx="61">
                        <c:v>43893</c:v>
                      </c:pt>
                      <c:pt idx="62">
                        <c:v>43894</c:v>
                      </c:pt>
                      <c:pt idx="63">
                        <c:v>43895</c:v>
                      </c:pt>
                      <c:pt idx="64">
                        <c:v>43896</c:v>
                      </c:pt>
                      <c:pt idx="65">
                        <c:v>43897</c:v>
                      </c:pt>
                      <c:pt idx="66">
                        <c:v>43898</c:v>
                      </c:pt>
                      <c:pt idx="67">
                        <c:v>43899</c:v>
                      </c:pt>
                      <c:pt idx="68">
                        <c:v>43900</c:v>
                      </c:pt>
                      <c:pt idx="69">
                        <c:v>43901</c:v>
                      </c:pt>
                      <c:pt idx="70">
                        <c:v>43902</c:v>
                      </c:pt>
                      <c:pt idx="71">
                        <c:v>43903</c:v>
                      </c:pt>
                      <c:pt idx="72">
                        <c:v>43904</c:v>
                      </c:pt>
                      <c:pt idx="73">
                        <c:v>43905</c:v>
                      </c:pt>
                      <c:pt idx="74">
                        <c:v>43906</c:v>
                      </c:pt>
                      <c:pt idx="75">
                        <c:v>43907</c:v>
                      </c:pt>
                      <c:pt idx="76">
                        <c:v>43908</c:v>
                      </c:pt>
                      <c:pt idx="77">
                        <c:v>43909</c:v>
                      </c:pt>
                      <c:pt idx="78">
                        <c:v>43910</c:v>
                      </c:pt>
                      <c:pt idx="79">
                        <c:v>43911</c:v>
                      </c:pt>
                      <c:pt idx="80">
                        <c:v>43912</c:v>
                      </c:pt>
                      <c:pt idx="81">
                        <c:v>43913</c:v>
                      </c:pt>
                      <c:pt idx="82">
                        <c:v>43914</c:v>
                      </c:pt>
                      <c:pt idx="83">
                        <c:v>43915</c:v>
                      </c:pt>
                      <c:pt idx="84">
                        <c:v>43916</c:v>
                      </c:pt>
                      <c:pt idx="85">
                        <c:v>43917</c:v>
                      </c:pt>
                      <c:pt idx="86">
                        <c:v>43918</c:v>
                      </c:pt>
                      <c:pt idx="87">
                        <c:v>43919</c:v>
                      </c:pt>
                      <c:pt idx="88">
                        <c:v>43920</c:v>
                      </c:pt>
                      <c:pt idx="89">
                        <c:v>43921</c:v>
                      </c:pt>
                      <c:pt idx="90">
                        <c:v>43922</c:v>
                      </c:pt>
                      <c:pt idx="91">
                        <c:v>43923</c:v>
                      </c:pt>
                      <c:pt idx="92">
                        <c:v>43924</c:v>
                      </c:pt>
                      <c:pt idx="93">
                        <c:v>43925</c:v>
                      </c:pt>
                      <c:pt idx="94">
                        <c:v>43926</c:v>
                      </c:pt>
                      <c:pt idx="95">
                        <c:v>43927</c:v>
                      </c:pt>
                      <c:pt idx="96">
                        <c:v>43928</c:v>
                      </c:pt>
                      <c:pt idx="97">
                        <c:v>43929</c:v>
                      </c:pt>
                      <c:pt idx="98">
                        <c:v>43930</c:v>
                      </c:pt>
                      <c:pt idx="99">
                        <c:v>43931</c:v>
                      </c:pt>
                      <c:pt idx="100">
                        <c:v>43932</c:v>
                      </c:pt>
                      <c:pt idx="101">
                        <c:v>43933</c:v>
                      </c:pt>
                      <c:pt idx="102">
                        <c:v>43934</c:v>
                      </c:pt>
                      <c:pt idx="103">
                        <c:v>43935</c:v>
                      </c:pt>
                      <c:pt idx="104">
                        <c:v>43936</c:v>
                      </c:pt>
                      <c:pt idx="105">
                        <c:v>43937</c:v>
                      </c:pt>
                      <c:pt idx="106">
                        <c:v>43938</c:v>
                      </c:pt>
                      <c:pt idx="107">
                        <c:v>43939</c:v>
                      </c:pt>
                      <c:pt idx="108">
                        <c:v>43940</c:v>
                      </c:pt>
                      <c:pt idx="109">
                        <c:v>43941</c:v>
                      </c:pt>
                      <c:pt idx="110">
                        <c:v>43942</c:v>
                      </c:pt>
                      <c:pt idx="111">
                        <c:v>43943</c:v>
                      </c:pt>
                      <c:pt idx="112">
                        <c:v>43944</c:v>
                      </c:pt>
                      <c:pt idx="113">
                        <c:v>43945</c:v>
                      </c:pt>
                      <c:pt idx="114">
                        <c:v>43946</c:v>
                      </c:pt>
                      <c:pt idx="115">
                        <c:v>43947</c:v>
                      </c:pt>
                      <c:pt idx="116">
                        <c:v>43948</c:v>
                      </c:pt>
                      <c:pt idx="117">
                        <c:v>43949</c:v>
                      </c:pt>
                      <c:pt idx="118">
                        <c:v>43950</c:v>
                      </c:pt>
                      <c:pt idx="119">
                        <c:v>43951</c:v>
                      </c:pt>
                      <c:pt idx="120">
                        <c:v>43952</c:v>
                      </c:pt>
                      <c:pt idx="121">
                        <c:v>43953</c:v>
                      </c:pt>
                      <c:pt idx="122">
                        <c:v>43954</c:v>
                      </c:pt>
                      <c:pt idx="123">
                        <c:v>43955</c:v>
                      </c:pt>
                      <c:pt idx="124">
                        <c:v>43956</c:v>
                      </c:pt>
                      <c:pt idx="125">
                        <c:v>43957</c:v>
                      </c:pt>
                      <c:pt idx="126">
                        <c:v>43958</c:v>
                      </c:pt>
                      <c:pt idx="127">
                        <c:v>43959</c:v>
                      </c:pt>
                      <c:pt idx="128">
                        <c:v>43960</c:v>
                      </c:pt>
                      <c:pt idx="129">
                        <c:v>43961</c:v>
                      </c:pt>
                      <c:pt idx="130">
                        <c:v>43962</c:v>
                      </c:pt>
                      <c:pt idx="131">
                        <c:v>43963</c:v>
                      </c:pt>
                      <c:pt idx="132">
                        <c:v>43964</c:v>
                      </c:pt>
                      <c:pt idx="133">
                        <c:v>43965</c:v>
                      </c:pt>
                      <c:pt idx="134">
                        <c:v>43966</c:v>
                      </c:pt>
                      <c:pt idx="135">
                        <c:v>43967</c:v>
                      </c:pt>
                      <c:pt idx="136">
                        <c:v>43968</c:v>
                      </c:pt>
                      <c:pt idx="137">
                        <c:v>43969</c:v>
                      </c:pt>
                      <c:pt idx="138">
                        <c:v>43970</c:v>
                      </c:pt>
                      <c:pt idx="139">
                        <c:v>43971</c:v>
                      </c:pt>
                      <c:pt idx="140">
                        <c:v>43972</c:v>
                      </c:pt>
                      <c:pt idx="141">
                        <c:v>43973</c:v>
                      </c:pt>
                      <c:pt idx="142">
                        <c:v>43974</c:v>
                      </c:pt>
                      <c:pt idx="143">
                        <c:v>43975</c:v>
                      </c:pt>
                      <c:pt idx="144">
                        <c:v>43976</c:v>
                      </c:pt>
                      <c:pt idx="145">
                        <c:v>43977</c:v>
                      </c:pt>
                      <c:pt idx="146">
                        <c:v>43978</c:v>
                      </c:pt>
                      <c:pt idx="147">
                        <c:v>43979</c:v>
                      </c:pt>
                      <c:pt idx="148">
                        <c:v>43980</c:v>
                      </c:pt>
                      <c:pt idx="149">
                        <c:v>43981</c:v>
                      </c:pt>
                      <c:pt idx="150">
                        <c:v>43982</c:v>
                      </c:pt>
                      <c:pt idx="151">
                        <c:v>43983</c:v>
                      </c:pt>
                      <c:pt idx="152">
                        <c:v>43984</c:v>
                      </c:pt>
                      <c:pt idx="153">
                        <c:v>43985</c:v>
                      </c:pt>
                      <c:pt idx="154">
                        <c:v>43986</c:v>
                      </c:pt>
                      <c:pt idx="155">
                        <c:v>43987</c:v>
                      </c:pt>
                      <c:pt idx="156">
                        <c:v>43988</c:v>
                      </c:pt>
                      <c:pt idx="157">
                        <c:v>43989</c:v>
                      </c:pt>
                      <c:pt idx="158">
                        <c:v>43990</c:v>
                      </c:pt>
                      <c:pt idx="159">
                        <c:v>43991</c:v>
                      </c:pt>
                      <c:pt idx="160">
                        <c:v>43992</c:v>
                      </c:pt>
                      <c:pt idx="161">
                        <c:v>43993</c:v>
                      </c:pt>
                      <c:pt idx="162">
                        <c:v>43994</c:v>
                      </c:pt>
                      <c:pt idx="163">
                        <c:v>43995</c:v>
                      </c:pt>
                      <c:pt idx="164">
                        <c:v>43996</c:v>
                      </c:pt>
                      <c:pt idx="165">
                        <c:v>43997</c:v>
                      </c:pt>
                      <c:pt idx="166">
                        <c:v>43998</c:v>
                      </c:pt>
                      <c:pt idx="167">
                        <c:v>43999</c:v>
                      </c:pt>
                      <c:pt idx="168">
                        <c:v>44000</c:v>
                      </c:pt>
                      <c:pt idx="169">
                        <c:v>44001</c:v>
                      </c:pt>
                      <c:pt idx="170">
                        <c:v>44002</c:v>
                      </c:pt>
                      <c:pt idx="171">
                        <c:v>44003</c:v>
                      </c:pt>
                      <c:pt idx="172">
                        <c:v>44004</c:v>
                      </c:pt>
                      <c:pt idx="173">
                        <c:v>44005</c:v>
                      </c:pt>
                      <c:pt idx="174">
                        <c:v>44006</c:v>
                      </c:pt>
                      <c:pt idx="175">
                        <c:v>44007</c:v>
                      </c:pt>
                      <c:pt idx="176">
                        <c:v>44008</c:v>
                      </c:pt>
                      <c:pt idx="177">
                        <c:v>44009</c:v>
                      </c:pt>
                      <c:pt idx="178">
                        <c:v>44010</c:v>
                      </c:pt>
                      <c:pt idx="179">
                        <c:v>44011</c:v>
                      </c:pt>
                      <c:pt idx="180">
                        <c:v>44012</c:v>
                      </c:pt>
                      <c:pt idx="181">
                        <c:v>44013</c:v>
                      </c:pt>
                      <c:pt idx="182">
                        <c:v>44014</c:v>
                      </c:pt>
                      <c:pt idx="183">
                        <c:v>44015</c:v>
                      </c:pt>
                      <c:pt idx="184">
                        <c:v>44016</c:v>
                      </c:pt>
                      <c:pt idx="185">
                        <c:v>44017</c:v>
                      </c:pt>
                      <c:pt idx="186">
                        <c:v>44018</c:v>
                      </c:pt>
                      <c:pt idx="187">
                        <c:v>44019</c:v>
                      </c:pt>
                      <c:pt idx="188">
                        <c:v>44020</c:v>
                      </c:pt>
                      <c:pt idx="189">
                        <c:v>44021</c:v>
                      </c:pt>
                      <c:pt idx="190">
                        <c:v>44022</c:v>
                      </c:pt>
                      <c:pt idx="191">
                        <c:v>44023</c:v>
                      </c:pt>
                      <c:pt idx="192">
                        <c:v>44024</c:v>
                      </c:pt>
                      <c:pt idx="193">
                        <c:v>44025</c:v>
                      </c:pt>
                      <c:pt idx="194">
                        <c:v>44026</c:v>
                      </c:pt>
                      <c:pt idx="195">
                        <c:v>44027</c:v>
                      </c:pt>
                      <c:pt idx="196">
                        <c:v>44028</c:v>
                      </c:pt>
                      <c:pt idx="197">
                        <c:v>44029</c:v>
                      </c:pt>
                      <c:pt idx="198">
                        <c:v>44030</c:v>
                      </c:pt>
                      <c:pt idx="199">
                        <c:v>44031</c:v>
                      </c:pt>
                      <c:pt idx="200">
                        <c:v>44032</c:v>
                      </c:pt>
                      <c:pt idx="201">
                        <c:v>44033</c:v>
                      </c:pt>
                      <c:pt idx="202">
                        <c:v>44034</c:v>
                      </c:pt>
                      <c:pt idx="203">
                        <c:v>44035</c:v>
                      </c:pt>
                      <c:pt idx="204">
                        <c:v>44036</c:v>
                      </c:pt>
                      <c:pt idx="205">
                        <c:v>44037</c:v>
                      </c:pt>
                      <c:pt idx="206">
                        <c:v>44038</c:v>
                      </c:pt>
                      <c:pt idx="207">
                        <c:v>44039</c:v>
                      </c:pt>
                      <c:pt idx="208">
                        <c:v>44040</c:v>
                      </c:pt>
                      <c:pt idx="209">
                        <c:v>44041</c:v>
                      </c:pt>
                      <c:pt idx="210">
                        <c:v>44042</c:v>
                      </c:pt>
                      <c:pt idx="211">
                        <c:v>44043</c:v>
                      </c:pt>
                      <c:pt idx="212">
                        <c:v>44044</c:v>
                      </c:pt>
                      <c:pt idx="213">
                        <c:v>44045</c:v>
                      </c:pt>
                      <c:pt idx="214">
                        <c:v>44046</c:v>
                      </c:pt>
                      <c:pt idx="215">
                        <c:v>44047</c:v>
                      </c:pt>
                      <c:pt idx="216">
                        <c:v>44048</c:v>
                      </c:pt>
                      <c:pt idx="217">
                        <c:v>44049</c:v>
                      </c:pt>
                      <c:pt idx="218">
                        <c:v>44050</c:v>
                      </c:pt>
                      <c:pt idx="219">
                        <c:v>44051</c:v>
                      </c:pt>
                      <c:pt idx="220">
                        <c:v>44052</c:v>
                      </c:pt>
                      <c:pt idx="221">
                        <c:v>44053</c:v>
                      </c:pt>
                      <c:pt idx="222">
                        <c:v>44054</c:v>
                      </c:pt>
                      <c:pt idx="223">
                        <c:v>44055</c:v>
                      </c:pt>
                      <c:pt idx="224">
                        <c:v>44056</c:v>
                      </c:pt>
                      <c:pt idx="225">
                        <c:v>44057</c:v>
                      </c:pt>
                      <c:pt idx="226">
                        <c:v>44058</c:v>
                      </c:pt>
                      <c:pt idx="227">
                        <c:v>44059</c:v>
                      </c:pt>
                      <c:pt idx="228">
                        <c:v>44060</c:v>
                      </c:pt>
                      <c:pt idx="229">
                        <c:v>44061</c:v>
                      </c:pt>
                      <c:pt idx="230">
                        <c:v>44062</c:v>
                      </c:pt>
                      <c:pt idx="231">
                        <c:v>44063</c:v>
                      </c:pt>
                      <c:pt idx="232">
                        <c:v>44064</c:v>
                      </c:pt>
                      <c:pt idx="233">
                        <c:v>44065</c:v>
                      </c:pt>
                      <c:pt idx="234">
                        <c:v>44066</c:v>
                      </c:pt>
                      <c:pt idx="235">
                        <c:v>44067</c:v>
                      </c:pt>
                      <c:pt idx="236">
                        <c:v>44068</c:v>
                      </c:pt>
                      <c:pt idx="237">
                        <c:v>44069</c:v>
                      </c:pt>
                      <c:pt idx="238">
                        <c:v>44070</c:v>
                      </c:pt>
                      <c:pt idx="239">
                        <c:v>44071</c:v>
                      </c:pt>
                      <c:pt idx="240">
                        <c:v>44072</c:v>
                      </c:pt>
                      <c:pt idx="241">
                        <c:v>44073</c:v>
                      </c:pt>
                      <c:pt idx="242">
                        <c:v>44074</c:v>
                      </c:pt>
                      <c:pt idx="243">
                        <c:v>44075</c:v>
                      </c:pt>
                      <c:pt idx="244">
                        <c:v>44076</c:v>
                      </c:pt>
                      <c:pt idx="245">
                        <c:v>44077</c:v>
                      </c:pt>
                      <c:pt idx="246">
                        <c:v>44078</c:v>
                      </c:pt>
                      <c:pt idx="247">
                        <c:v>44079</c:v>
                      </c:pt>
                      <c:pt idx="248">
                        <c:v>44080</c:v>
                      </c:pt>
                      <c:pt idx="249">
                        <c:v>44081</c:v>
                      </c:pt>
                      <c:pt idx="250">
                        <c:v>44082</c:v>
                      </c:pt>
                      <c:pt idx="251">
                        <c:v>44083</c:v>
                      </c:pt>
                      <c:pt idx="252">
                        <c:v>44084</c:v>
                      </c:pt>
                      <c:pt idx="253">
                        <c:v>44085</c:v>
                      </c:pt>
                      <c:pt idx="254">
                        <c:v>44086</c:v>
                      </c:pt>
                      <c:pt idx="255">
                        <c:v>44087</c:v>
                      </c:pt>
                      <c:pt idx="256">
                        <c:v>44088</c:v>
                      </c:pt>
                      <c:pt idx="257">
                        <c:v>44089</c:v>
                      </c:pt>
                      <c:pt idx="258">
                        <c:v>44090</c:v>
                      </c:pt>
                      <c:pt idx="259">
                        <c:v>44091</c:v>
                      </c:pt>
                      <c:pt idx="260">
                        <c:v>44092</c:v>
                      </c:pt>
                      <c:pt idx="261">
                        <c:v>44093</c:v>
                      </c:pt>
                      <c:pt idx="262">
                        <c:v>44094</c:v>
                      </c:pt>
                      <c:pt idx="263">
                        <c:v>44095</c:v>
                      </c:pt>
                      <c:pt idx="264">
                        <c:v>44096</c:v>
                      </c:pt>
                      <c:pt idx="265">
                        <c:v>44097</c:v>
                      </c:pt>
                      <c:pt idx="266">
                        <c:v>44098</c:v>
                      </c:pt>
                      <c:pt idx="267">
                        <c:v>44099</c:v>
                      </c:pt>
                      <c:pt idx="268">
                        <c:v>44100</c:v>
                      </c:pt>
                      <c:pt idx="269">
                        <c:v>44101</c:v>
                      </c:pt>
                      <c:pt idx="270">
                        <c:v>44102</c:v>
                      </c:pt>
                      <c:pt idx="271">
                        <c:v>44103</c:v>
                      </c:pt>
                      <c:pt idx="272">
                        <c:v>44104</c:v>
                      </c:pt>
                      <c:pt idx="273">
                        <c:v>44105</c:v>
                      </c:pt>
                      <c:pt idx="274">
                        <c:v>44106</c:v>
                      </c:pt>
                      <c:pt idx="275">
                        <c:v>44107</c:v>
                      </c:pt>
                      <c:pt idx="276">
                        <c:v>44108</c:v>
                      </c:pt>
                      <c:pt idx="277">
                        <c:v>44109</c:v>
                      </c:pt>
                      <c:pt idx="278">
                        <c:v>44110</c:v>
                      </c:pt>
                      <c:pt idx="279">
                        <c:v>44111</c:v>
                      </c:pt>
                      <c:pt idx="280">
                        <c:v>44112</c:v>
                      </c:pt>
                      <c:pt idx="281">
                        <c:v>44113</c:v>
                      </c:pt>
                      <c:pt idx="282">
                        <c:v>44114</c:v>
                      </c:pt>
                      <c:pt idx="283">
                        <c:v>44115</c:v>
                      </c:pt>
                      <c:pt idx="284">
                        <c:v>44116</c:v>
                      </c:pt>
                      <c:pt idx="285">
                        <c:v>44117</c:v>
                      </c:pt>
                      <c:pt idx="286">
                        <c:v>44118</c:v>
                      </c:pt>
                      <c:pt idx="287">
                        <c:v>44119</c:v>
                      </c:pt>
                      <c:pt idx="288">
                        <c:v>44120</c:v>
                      </c:pt>
                      <c:pt idx="289">
                        <c:v>44121</c:v>
                      </c:pt>
                      <c:pt idx="290">
                        <c:v>44122</c:v>
                      </c:pt>
                      <c:pt idx="291">
                        <c:v>44123</c:v>
                      </c:pt>
                      <c:pt idx="292">
                        <c:v>44124</c:v>
                      </c:pt>
                      <c:pt idx="293">
                        <c:v>44125</c:v>
                      </c:pt>
                      <c:pt idx="294">
                        <c:v>44126</c:v>
                      </c:pt>
                      <c:pt idx="295">
                        <c:v>44127</c:v>
                      </c:pt>
                      <c:pt idx="296">
                        <c:v>44128</c:v>
                      </c:pt>
                      <c:pt idx="297">
                        <c:v>44129</c:v>
                      </c:pt>
                      <c:pt idx="298">
                        <c:v>44130</c:v>
                      </c:pt>
                      <c:pt idx="299">
                        <c:v>44131</c:v>
                      </c:pt>
                      <c:pt idx="300">
                        <c:v>44132</c:v>
                      </c:pt>
                      <c:pt idx="301">
                        <c:v>44133</c:v>
                      </c:pt>
                      <c:pt idx="302">
                        <c:v>44134</c:v>
                      </c:pt>
                      <c:pt idx="303">
                        <c:v>44135</c:v>
                      </c:pt>
                      <c:pt idx="304">
                        <c:v>44136</c:v>
                      </c:pt>
                      <c:pt idx="305">
                        <c:v>44137</c:v>
                      </c:pt>
                      <c:pt idx="306">
                        <c:v>44138</c:v>
                      </c:pt>
                      <c:pt idx="307">
                        <c:v>44139</c:v>
                      </c:pt>
                      <c:pt idx="308">
                        <c:v>44140</c:v>
                      </c:pt>
                      <c:pt idx="309">
                        <c:v>44141</c:v>
                      </c:pt>
                      <c:pt idx="310">
                        <c:v>44142</c:v>
                      </c:pt>
                      <c:pt idx="311">
                        <c:v>44143</c:v>
                      </c:pt>
                      <c:pt idx="312">
                        <c:v>44144</c:v>
                      </c:pt>
                      <c:pt idx="313">
                        <c:v>44145</c:v>
                      </c:pt>
                      <c:pt idx="314">
                        <c:v>44146</c:v>
                      </c:pt>
                      <c:pt idx="315">
                        <c:v>44147</c:v>
                      </c:pt>
                      <c:pt idx="316">
                        <c:v>44148</c:v>
                      </c:pt>
                      <c:pt idx="317">
                        <c:v>44149</c:v>
                      </c:pt>
                      <c:pt idx="318">
                        <c:v>44150</c:v>
                      </c:pt>
                      <c:pt idx="319">
                        <c:v>44151</c:v>
                      </c:pt>
                      <c:pt idx="320">
                        <c:v>44152</c:v>
                      </c:pt>
                      <c:pt idx="321">
                        <c:v>44153</c:v>
                      </c:pt>
                      <c:pt idx="322">
                        <c:v>44154</c:v>
                      </c:pt>
                      <c:pt idx="323">
                        <c:v>44155</c:v>
                      </c:pt>
                      <c:pt idx="324">
                        <c:v>44156</c:v>
                      </c:pt>
                      <c:pt idx="325">
                        <c:v>44157</c:v>
                      </c:pt>
                      <c:pt idx="326">
                        <c:v>44158</c:v>
                      </c:pt>
                      <c:pt idx="327">
                        <c:v>44159</c:v>
                      </c:pt>
                      <c:pt idx="328">
                        <c:v>44160</c:v>
                      </c:pt>
                      <c:pt idx="329">
                        <c:v>44161</c:v>
                      </c:pt>
                      <c:pt idx="330">
                        <c:v>44162</c:v>
                      </c:pt>
                      <c:pt idx="331">
                        <c:v>44163</c:v>
                      </c:pt>
                      <c:pt idx="332">
                        <c:v>44164</c:v>
                      </c:pt>
                      <c:pt idx="333">
                        <c:v>44165</c:v>
                      </c:pt>
                      <c:pt idx="334">
                        <c:v>44166</c:v>
                      </c:pt>
                      <c:pt idx="335">
                        <c:v>44167</c:v>
                      </c:pt>
                      <c:pt idx="336">
                        <c:v>44168</c:v>
                      </c:pt>
                      <c:pt idx="337">
                        <c:v>44169</c:v>
                      </c:pt>
                      <c:pt idx="338">
                        <c:v>44170</c:v>
                      </c:pt>
                      <c:pt idx="339">
                        <c:v>44171</c:v>
                      </c:pt>
                      <c:pt idx="340">
                        <c:v>44172</c:v>
                      </c:pt>
                      <c:pt idx="341">
                        <c:v>44173</c:v>
                      </c:pt>
                      <c:pt idx="342">
                        <c:v>44174</c:v>
                      </c:pt>
                      <c:pt idx="343">
                        <c:v>44175</c:v>
                      </c:pt>
                      <c:pt idx="344">
                        <c:v>44176</c:v>
                      </c:pt>
                      <c:pt idx="345">
                        <c:v>44177</c:v>
                      </c:pt>
                      <c:pt idx="346">
                        <c:v>44178</c:v>
                      </c:pt>
                      <c:pt idx="347">
                        <c:v>44179</c:v>
                      </c:pt>
                      <c:pt idx="348">
                        <c:v>44180</c:v>
                      </c:pt>
                      <c:pt idx="349">
                        <c:v>44181</c:v>
                      </c:pt>
                      <c:pt idx="350">
                        <c:v>44182</c:v>
                      </c:pt>
                      <c:pt idx="351">
                        <c:v>44183</c:v>
                      </c:pt>
                      <c:pt idx="352">
                        <c:v>44184</c:v>
                      </c:pt>
                      <c:pt idx="353">
                        <c:v>44185</c:v>
                      </c:pt>
                      <c:pt idx="354">
                        <c:v>44186</c:v>
                      </c:pt>
                      <c:pt idx="355">
                        <c:v>44187</c:v>
                      </c:pt>
                      <c:pt idx="356">
                        <c:v>44188</c:v>
                      </c:pt>
                      <c:pt idx="357">
                        <c:v>44189</c:v>
                      </c:pt>
                      <c:pt idx="358">
                        <c:v>44190</c:v>
                      </c:pt>
                      <c:pt idx="359">
                        <c:v>44191</c:v>
                      </c:pt>
                      <c:pt idx="360">
                        <c:v>44192</c:v>
                      </c:pt>
                      <c:pt idx="361">
                        <c:v>44193</c:v>
                      </c:pt>
                      <c:pt idx="362">
                        <c:v>44194</c:v>
                      </c:pt>
                      <c:pt idx="363">
                        <c:v>44195</c:v>
                      </c:pt>
                      <c:pt idx="364">
                        <c:v>44196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rk1'!$D$3:$D$33</c15:sqref>
                        </c15:formulaRef>
                      </c:ext>
                    </c:extLst>
                    <c:numCache>
                      <c:formatCode>0.00</c:formatCode>
                      <c:ptCount val="31"/>
                      <c:pt idx="0">
                        <c:v>108395</c:v>
                      </c:pt>
                      <c:pt idx="1">
                        <c:v>109083</c:v>
                      </c:pt>
                      <c:pt idx="2">
                        <c:v>109020</c:v>
                      </c:pt>
                      <c:pt idx="3">
                        <c:v>108889</c:v>
                      </c:pt>
                      <c:pt idx="4">
                        <c:v>109028</c:v>
                      </c:pt>
                      <c:pt idx="5">
                        <c:v>109401</c:v>
                      </c:pt>
                      <c:pt idx="6">
                        <c:v>110699</c:v>
                      </c:pt>
                      <c:pt idx="7">
                        <c:v>112784</c:v>
                      </c:pt>
                      <c:pt idx="8">
                        <c:v>113028</c:v>
                      </c:pt>
                      <c:pt idx="9">
                        <c:v>113094</c:v>
                      </c:pt>
                      <c:pt idx="10">
                        <c:v>112128</c:v>
                      </c:pt>
                      <c:pt idx="11">
                        <c:v>111337</c:v>
                      </c:pt>
                      <c:pt idx="12">
                        <c:v>111079</c:v>
                      </c:pt>
                      <c:pt idx="13">
                        <c:v>110793</c:v>
                      </c:pt>
                      <c:pt idx="14">
                        <c:v>111014</c:v>
                      </c:pt>
                      <c:pt idx="15">
                        <c:v>111126</c:v>
                      </c:pt>
                      <c:pt idx="16">
                        <c:v>111218</c:v>
                      </c:pt>
                      <c:pt idx="17">
                        <c:v>111329</c:v>
                      </c:pt>
                      <c:pt idx="18">
                        <c:v>111249</c:v>
                      </c:pt>
                      <c:pt idx="19">
                        <c:v>111451</c:v>
                      </c:pt>
                      <c:pt idx="20">
                        <c:v>111866</c:v>
                      </c:pt>
                      <c:pt idx="21">
                        <c:v>111905</c:v>
                      </c:pt>
                      <c:pt idx="22">
                        <c:v>111988</c:v>
                      </c:pt>
                      <c:pt idx="23">
                        <c:v>111692</c:v>
                      </c:pt>
                      <c:pt idx="24">
                        <c:v>111474</c:v>
                      </c:pt>
                      <c:pt idx="25">
                        <c:v>111437</c:v>
                      </c:pt>
                      <c:pt idx="26">
                        <c:v>111052</c:v>
                      </c:pt>
                      <c:pt idx="27">
                        <c:v>110365</c:v>
                      </c:pt>
                      <c:pt idx="28">
                        <c:v>109742</c:v>
                      </c:pt>
                      <c:pt idx="29">
                        <c:v>109033</c:v>
                      </c:pt>
                      <c:pt idx="30">
                        <c:v>10853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63A1-47F3-B2B3-E43447D5766E}"/>
                  </c:ext>
                </c:extLst>
              </c15:ser>
            </c15:filteredLineSeries>
          </c:ext>
        </c:extLst>
      </c:lineChart>
      <c:dateAx>
        <c:axId val="880419240"/>
        <c:scaling>
          <c:orientation val="minMax"/>
          <c:max val="44196"/>
        </c:scaling>
        <c:delete val="0"/>
        <c:axPos val="b"/>
        <c:numFmt formatCode="mmm" sourceLinked="0"/>
        <c:majorTickMark val="in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880421536"/>
        <c:crosses val="autoZero"/>
        <c:auto val="1"/>
        <c:lblOffset val="100"/>
        <c:baseTimeUnit val="days"/>
        <c:majorUnit val="1"/>
        <c:majorTimeUnit val="months"/>
      </c:dateAx>
      <c:valAx>
        <c:axId val="880421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880419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2922660690156434"/>
          <c:y val="4.755113468826843E-2"/>
          <c:w val="0.77527087384459914"/>
          <c:h val="0.115951642180267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2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2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354714560615777E-2"/>
          <c:y val="0.10366398570151922"/>
          <c:w val="0.93329057087876843"/>
          <c:h val="0.849865951742627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126-434A-9458-8AF28A95A74A}"/>
              </c:ext>
            </c:extLst>
          </c:dPt>
          <c:dPt>
            <c:idx val="4"/>
            <c:invertIfNegative val="0"/>
            <c:bubble3D val="0"/>
            <c:spPr>
              <a:solidFill>
                <a:srgbClr val="FDC1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126-434A-9458-8AF28A95A74A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126-434A-9458-8AF28A95A74A}"/>
                </c:ext>
              </c:extLst>
            </c:dLbl>
            <c:dLbl>
              <c:idx val="4"/>
              <c:layout>
                <c:manualLayout>
                  <c:x val="0"/>
                  <c:y val="-0.478105451295799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126-434A-9458-8AF28A95A7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4.4</c:v>
                </c:pt>
                <c:pt idx="1">
                  <c:v>14.4</c:v>
                </c:pt>
                <c:pt idx="2">
                  <c:v>95.4</c:v>
                </c:pt>
                <c:pt idx="3">
                  <c:v>112.60000000000001</c:v>
                </c:pt>
                <c:pt idx="4">
                  <c:v>127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26-434A-9458-8AF28A95A74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126-434A-9458-8AF28A95A74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126-434A-9458-8AF28A95A74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126-434A-9458-8AF28A95A7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81</c:v>
                </c:pt>
                <c:pt idx="2">
                  <c:v>17.200000000000003</c:v>
                </c:pt>
                <c:pt idx="3">
                  <c:v>15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126-434A-9458-8AF28A95A7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93224408"/>
        <c:axId val="1"/>
      </c:barChart>
      <c:catAx>
        <c:axId val="2093224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7.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932244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689793195463642E-2"/>
          <c:y val="0.10450450450450451"/>
          <c:w val="0.93062041360907266"/>
          <c:h val="0.8486486486486486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6E5-4B0D-B4C1-FFBFDC6435BA}"/>
              </c:ext>
            </c:extLst>
          </c:dPt>
          <c:dPt>
            <c:idx val="5"/>
            <c:invertIfNegative val="0"/>
            <c:bubble3D val="0"/>
            <c:spPr>
              <a:solidFill>
                <a:srgbClr val="FDC1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6E5-4B0D-B4C1-FFBFDC6435BA}"/>
              </c:ext>
            </c:extLst>
          </c:dPt>
          <c:dLbls>
            <c:dLbl>
              <c:idx val="0"/>
              <c:layout>
                <c:manualLayout>
                  <c:x val="0"/>
                  <c:y val="-9.0090090090090091E-4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6E5-4B0D-B4C1-FFBFDC6435BA}"/>
                </c:ext>
              </c:extLst>
            </c:dLbl>
            <c:dLbl>
              <c:idx val="5"/>
              <c:layout>
                <c:manualLayout>
                  <c:x val="0"/>
                  <c:y val="-0.477477477477477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6E5-4B0D-B4C1-FFBFDC6435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35</c:v>
                </c:pt>
                <c:pt idx="1">
                  <c:v>335</c:v>
                </c:pt>
                <c:pt idx="2">
                  <c:v>335.5</c:v>
                </c:pt>
                <c:pt idx="3">
                  <c:v>340.5</c:v>
                </c:pt>
                <c:pt idx="4">
                  <c:v>352.5</c:v>
                </c:pt>
                <c:pt idx="5">
                  <c:v>46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E5-4B0D-B4C1-FFBFDC6435B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6E5-4B0D-B4C1-FFBFDC6435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0.5</c:v>
                </c:pt>
                <c:pt idx="2">
                  <c:v>5</c:v>
                </c:pt>
                <c:pt idx="3">
                  <c:v>12</c:v>
                </c:pt>
                <c:pt idx="4">
                  <c:v>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6E5-4B0D-B4C1-FFBFDC6435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17044776"/>
        <c:axId val="1"/>
      </c:barChart>
      <c:catAx>
        <c:axId val="12170447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3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170447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334346504559271"/>
          <c:y val="5.3982300884955751E-2"/>
          <c:w val="0.8740772904906644"/>
          <c:h val="0.89557522123893807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2"/>
              <c:layout>
                <c:manualLayout>
                  <c:x val="0"/>
                  <c:y val="-6.63716814159292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559-43C6-A764-422DC8EE5C28}"/>
                </c:ext>
              </c:extLst>
            </c:dLbl>
            <c:dLbl>
              <c:idx val="5"/>
              <c:layout>
                <c:manualLayout>
                  <c:x val="0"/>
                  <c:y val="-6.63716814159292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559-43C6-A764-422DC8EE5C28}"/>
                </c:ext>
              </c:extLst>
            </c:dLbl>
            <c:dLbl>
              <c:idx val="7"/>
              <c:layout>
                <c:manualLayout>
                  <c:x val="0"/>
                  <c:y val="-6.63716814159292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559-43C6-A764-422DC8EE5C28}"/>
                </c:ext>
              </c:extLst>
            </c:dLbl>
            <c:dLbl>
              <c:idx val="8"/>
              <c:layout>
                <c:manualLayout>
                  <c:x val="0"/>
                  <c:y val="-6.63716814159292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559-43C6-A764-422DC8EE5C28}"/>
                </c:ext>
              </c:extLst>
            </c:dLbl>
            <c:dLbl>
              <c:idx val="11"/>
              <c:layout>
                <c:manualLayout>
                  <c:x val="0"/>
                  <c:y val="-6.63716814159292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559-43C6-A764-422DC8EE5C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21</c:v>
                </c:pt>
                <c:pt idx="1">
                  <c:v>32</c:v>
                </c:pt>
                <c:pt idx="2">
                  <c:v>72</c:v>
                </c:pt>
                <c:pt idx="3">
                  <c:v>45</c:v>
                </c:pt>
                <c:pt idx="4">
                  <c:v>50</c:v>
                </c:pt>
                <c:pt idx="5">
                  <c:v>77</c:v>
                </c:pt>
                <c:pt idx="6">
                  <c:v>47</c:v>
                </c:pt>
                <c:pt idx="7">
                  <c:v>40</c:v>
                </c:pt>
                <c:pt idx="8">
                  <c:v>40</c:v>
                </c:pt>
                <c:pt idx="9">
                  <c:v>36</c:v>
                </c:pt>
                <c:pt idx="10">
                  <c:v>58</c:v>
                </c:pt>
                <c:pt idx="11">
                  <c:v>93</c:v>
                </c:pt>
                <c:pt idx="12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559-43C6-A764-422DC8EE5C28}"/>
            </c:ext>
          </c:extLst>
        </c:ser>
        <c:ser>
          <c:idx val="1"/>
          <c:order val="1"/>
          <c:spPr>
            <a:ln w="3175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val>
            <c:numRef>
              <c:f>Sheet1!$A$2:$M$2</c:f>
              <c:numCache>
                <c:formatCode>General</c:formatCode>
                <c:ptCount val="13"/>
                <c:pt idx="0">
                  <c:v>16</c:v>
                </c:pt>
                <c:pt idx="1">
                  <c:v>29</c:v>
                </c:pt>
                <c:pt idx="2">
                  <c:v>60</c:v>
                </c:pt>
                <c:pt idx="3">
                  <c:v>34</c:v>
                </c:pt>
                <c:pt idx="4">
                  <c:v>41</c:v>
                </c:pt>
                <c:pt idx="5">
                  <c:v>57</c:v>
                </c:pt>
                <c:pt idx="6">
                  <c:v>41</c:v>
                </c:pt>
                <c:pt idx="7">
                  <c:v>33</c:v>
                </c:pt>
                <c:pt idx="8">
                  <c:v>30</c:v>
                </c:pt>
                <c:pt idx="9">
                  <c:v>32</c:v>
                </c:pt>
                <c:pt idx="10">
                  <c:v>44</c:v>
                </c:pt>
                <c:pt idx="11">
                  <c:v>66</c:v>
                </c:pt>
                <c:pt idx="12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559-43C6-A764-422DC8EE5C28}"/>
            </c:ext>
          </c:extLst>
        </c:ser>
        <c:ser>
          <c:idx val="2"/>
          <c:order val="2"/>
          <c:spPr>
            <a:ln w="19050" algn="ctr">
              <a:solidFill>
                <a:schemeClr val="accent1"/>
              </a:solidFill>
              <a:prstDash val="lgDash"/>
            </a:ln>
          </c:spPr>
          <c:marker>
            <c:symbol val="none"/>
          </c:marker>
          <c:val>
            <c:numRef>
              <c:f>Sheet1!$A$3:$M$3</c:f>
              <c:numCache>
                <c:formatCode>General</c:formatCode>
                <c:ptCount val="1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3</c:v>
                </c:pt>
                <c:pt idx="6">
                  <c:v>0</c:v>
                </c:pt>
                <c:pt idx="7">
                  <c:v>0</c:v>
                </c:pt>
                <c:pt idx="8">
                  <c:v>4</c:v>
                </c:pt>
                <c:pt idx="9">
                  <c:v>0</c:v>
                </c:pt>
                <c:pt idx="10">
                  <c:v>5</c:v>
                </c:pt>
                <c:pt idx="11">
                  <c:v>2</c:v>
                </c:pt>
                <c:pt idx="1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B559-43C6-A764-422DC8EE5C28}"/>
            </c:ext>
          </c:extLst>
        </c:ser>
        <c:ser>
          <c:idx val="3"/>
          <c:order val="3"/>
          <c:spPr>
            <a:ln w="3175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val>
            <c:numRef>
              <c:f>Sheet1!$A$4:$M$4</c:f>
              <c:numCache>
                <c:formatCode>General</c:formatCode>
                <c:ptCount val="13"/>
                <c:pt idx="0">
                  <c:v>1</c:v>
                </c:pt>
                <c:pt idx="1">
                  <c:v>1</c:v>
                </c:pt>
                <c:pt idx="2">
                  <c:v>8</c:v>
                </c:pt>
                <c:pt idx="3">
                  <c:v>6</c:v>
                </c:pt>
                <c:pt idx="4">
                  <c:v>3</c:v>
                </c:pt>
                <c:pt idx="5">
                  <c:v>1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  <c:pt idx="10">
                  <c:v>2</c:v>
                </c:pt>
                <c:pt idx="11">
                  <c:v>16</c:v>
                </c:pt>
                <c:pt idx="12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B559-43C6-A764-422DC8EE5C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57138568"/>
        <c:axId val="1"/>
      </c:lineChart>
      <c:catAx>
        <c:axId val="9571385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2"/>
                </a:solidFill>
                <a:latin typeface="Calibri"/>
                <a:ea typeface="+mn-ea"/>
                <a:cs typeface="Calibri"/>
                <a:sym typeface="Calibri"/>
              </a:defRPr>
            </a:pPr>
            <a:endParaRPr lang="fr-FR"/>
          </a:p>
        </c:txPr>
        <c:crossAx val="957138568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596491228070173E-2"/>
          <c:y val="0.1045958795562599"/>
          <c:w val="0.88289473684210529"/>
          <c:h val="0.85023771790808245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8070175438596492E-2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DE3-408B-9F76-F91E17EB34BC}"/>
                </c:ext>
              </c:extLst>
            </c:dLbl>
            <c:dLbl>
              <c:idx val="1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DE3-408B-9F76-F91E17EB34BC}"/>
                </c:ext>
              </c:extLst>
            </c:dLbl>
            <c:dLbl>
              <c:idx val="2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DE3-408B-9F76-F91E17EB34BC}"/>
                </c:ext>
              </c:extLst>
            </c:dLbl>
            <c:dLbl>
              <c:idx val="5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DE3-408B-9F76-F91E17EB34BC}"/>
                </c:ext>
              </c:extLst>
            </c:dLbl>
            <c:dLbl>
              <c:idx val="8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DE3-408B-9F76-F91E17EB34BC}"/>
                </c:ext>
              </c:extLst>
            </c:dLbl>
            <c:dLbl>
              <c:idx val="9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DE3-408B-9F76-F91E17EB34BC}"/>
                </c:ext>
              </c:extLst>
            </c:dLbl>
            <c:dLbl>
              <c:idx val="10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DE3-408B-9F76-F91E17EB34BC}"/>
                </c:ext>
              </c:extLst>
            </c:dLbl>
            <c:dLbl>
              <c:idx val="11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DE3-408B-9F76-F91E17EB34BC}"/>
                </c:ext>
              </c:extLst>
            </c:dLbl>
            <c:dLbl>
              <c:idx val="12"/>
              <c:layout>
                <c:manualLayout>
                  <c:x val="0"/>
                  <c:y val="-5.94294770206022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DE3-408B-9F76-F91E17EB34B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26</c:v>
                </c:pt>
                <c:pt idx="1">
                  <c:v>22</c:v>
                </c:pt>
                <c:pt idx="2">
                  <c:v>29</c:v>
                </c:pt>
                <c:pt idx="3">
                  <c:v>17</c:v>
                </c:pt>
                <c:pt idx="4">
                  <c:v>17</c:v>
                </c:pt>
                <c:pt idx="5">
                  <c:v>45</c:v>
                </c:pt>
                <c:pt idx="6">
                  <c:v>28</c:v>
                </c:pt>
                <c:pt idx="7">
                  <c:v>22</c:v>
                </c:pt>
                <c:pt idx="8">
                  <c:v>35</c:v>
                </c:pt>
                <c:pt idx="9">
                  <c:v>27</c:v>
                </c:pt>
                <c:pt idx="10">
                  <c:v>34</c:v>
                </c:pt>
                <c:pt idx="11">
                  <c:v>38</c:v>
                </c:pt>
                <c:pt idx="12">
                  <c:v>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2DE3-408B-9F76-F91E17EB34BC}"/>
            </c:ext>
          </c:extLst>
        </c:ser>
        <c:ser>
          <c:idx val="1"/>
          <c:order val="1"/>
          <c:spPr>
            <a:ln w="3175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val>
            <c:numRef>
              <c:f>Sheet1!$A$2:$M$2</c:f>
              <c:numCache>
                <c:formatCode>General</c:formatCode>
                <c:ptCount val="13"/>
                <c:pt idx="0">
                  <c:v>22</c:v>
                </c:pt>
                <c:pt idx="1">
                  <c:v>19</c:v>
                </c:pt>
                <c:pt idx="2">
                  <c:v>22</c:v>
                </c:pt>
                <c:pt idx="3">
                  <c:v>4</c:v>
                </c:pt>
                <c:pt idx="4">
                  <c:v>11</c:v>
                </c:pt>
                <c:pt idx="5">
                  <c:v>35</c:v>
                </c:pt>
                <c:pt idx="6">
                  <c:v>23</c:v>
                </c:pt>
                <c:pt idx="7">
                  <c:v>16</c:v>
                </c:pt>
                <c:pt idx="8">
                  <c:v>27</c:v>
                </c:pt>
                <c:pt idx="9">
                  <c:v>22</c:v>
                </c:pt>
                <c:pt idx="10">
                  <c:v>29</c:v>
                </c:pt>
                <c:pt idx="11">
                  <c:v>33</c:v>
                </c:pt>
                <c:pt idx="12">
                  <c:v>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2DE3-408B-9F76-F91E17EB34BC}"/>
            </c:ext>
          </c:extLst>
        </c:ser>
        <c:ser>
          <c:idx val="2"/>
          <c:order val="2"/>
          <c:spPr>
            <a:ln w="19050" algn="ctr">
              <a:solidFill>
                <a:schemeClr val="accent1"/>
              </a:solidFill>
              <a:prstDash val="lgDash"/>
            </a:ln>
          </c:spPr>
          <c:marker>
            <c:symbol val="none"/>
          </c:marker>
          <c:val>
            <c:numRef>
              <c:f>Sheet1!$A$3:$M$3</c:f>
              <c:numCache>
                <c:formatCode>General</c:formatCode>
                <c:ptCount val="13"/>
                <c:pt idx="0">
                  <c:v>3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5</c:v>
                </c:pt>
                <c:pt idx="6">
                  <c:v>0</c:v>
                </c:pt>
                <c:pt idx="7">
                  <c:v>2</c:v>
                </c:pt>
                <c:pt idx="8">
                  <c:v>4</c:v>
                </c:pt>
                <c:pt idx="9">
                  <c:v>2</c:v>
                </c:pt>
                <c:pt idx="10">
                  <c:v>0</c:v>
                </c:pt>
                <c:pt idx="11">
                  <c:v>2</c:v>
                </c:pt>
                <c:pt idx="1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DE3-408B-9F76-F91E17EB34BC}"/>
            </c:ext>
          </c:extLst>
        </c:ser>
        <c:ser>
          <c:idx val="3"/>
          <c:order val="3"/>
          <c:spPr>
            <a:ln w="3175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val>
            <c:numRef>
              <c:f>Sheet1!$A$4:$M$4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9</c:v>
                </c:pt>
                <c:pt idx="4">
                  <c:v>2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DE3-408B-9F76-F91E17EB34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46978808"/>
        <c:axId val="1"/>
      </c:lineChart>
      <c:catAx>
        <c:axId val="1246978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2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lang="fr-FR"/>
          </a:p>
        </c:txPr>
        <c:crossAx val="1246978808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896836865767504"/>
          <c:y val="0"/>
          <c:w val="0.73103163134232496"/>
          <c:h val="0.892551892551892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GRAPHIQUES!$B$6</c:f>
              <c:strCache>
                <c:ptCount val="1"/>
                <c:pt idx="0">
                  <c:v>Commandes Brutes YT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CBC-4BB7-9C2C-68AE1A0D9224}"/>
                </c:ext>
              </c:extLst>
            </c:dLbl>
            <c:dLbl>
              <c:idx val="6"/>
              <c:layout>
                <c:manualLayout>
                  <c:x val="-9.1763005780346921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CBC-4BB7-9C2C-68AE1A0D92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7:$A$13</c:f>
              <c:strCache>
                <c:ptCount val="7"/>
                <c:pt idx="0">
                  <c:v>A220</c:v>
                </c:pt>
                <c:pt idx="1">
                  <c:v>A319 NEO</c:v>
                </c:pt>
                <c:pt idx="2">
                  <c:v>A320 NEO</c:v>
                </c:pt>
                <c:pt idx="3">
                  <c:v>A321 NEO</c:v>
                </c:pt>
                <c:pt idx="4">
                  <c:v>A330 NEO</c:v>
                </c:pt>
                <c:pt idx="5">
                  <c:v>A350</c:v>
                </c:pt>
                <c:pt idx="6">
                  <c:v>TOTAL</c:v>
                </c:pt>
              </c:strCache>
            </c:strRef>
          </c:cat>
          <c:val>
            <c:numRef>
              <c:f>GRAPHIQUES!$B$7:$B$13</c:f>
              <c:numCache>
                <c:formatCode>General</c:formatCode>
                <c:ptCount val="7"/>
                <c:pt idx="0">
                  <c:v>22</c:v>
                </c:pt>
                <c:pt idx="1">
                  <c:v>0</c:v>
                </c:pt>
                <c:pt idx="2">
                  <c:v>6</c:v>
                </c:pt>
                <c:pt idx="3">
                  <c:v>8</c:v>
                </c:pt>
                <c:pt idx="4">
                  <c:v>0</c:v>
                </c:pt>
                <c:pt idx="5">
                  <c:v>0</c:v>
                </c:pt>
                <c:pt idx="6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BC-4BB7-9C2C-68AE1A0D9224}"/>
            </c:ext>
          </c:extLst>
        </c:ser>
        <c:ser>
          <c:idx val="1"/>
          <c:order val="1"/>
          <c:tx>
            <c:strRef>
              <c:f>GRAPHIQUES!$C$6</c:f>
              <c:strCache>
                <c:ptCount val="1"/>
                <c:pt idx="0">
                  <c:v>Annulation YTD</c:v>
                </c:pt>
              </c:strCache>
            </c:strRef>
          </c:tx>
          <c:spPr>
            <a:solidFill>
              <a:srgbClr val="9396B4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CBC-4BB7-9C2C-68AE1A0D922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CBC-4BB7-9C2C-68AE1A0D922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CBC-4BB7-9C2C-68AE1A0D9224}"/>
                </c:ext>
              </c:extLst>
            </c:dLbl>
            <c:dLbl>
              <c:idx val="3"/>
              <c:layout>
                <c:manualLayout>
                  <c:x val="-0.11215478484264611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CBC-4BB7-9C2C-68AE1A0D9224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CBC-4BB7-9C2C-68AE1A0D9224}"/>
                </c:ext>
              </c:extLst>
            </c:dLbl>
            <c:dLbl>
              <c:idx val="6"/>
              <c:layout>
                <c:manualLayout>
                  <c:x val="-0.11215478484264611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CBC-4BB7-9C2C-68AE1A0D92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7:$A$13</c:f>
              <c:strCache>
                <c:ptCount val="7"/>
                <c:pt idx="0">
                  <c:v>A220</c:v>
                </c:pt>
                <c:pt idx="1">
                  <c:v>A319 NEO</c:v>
                </c:pt>
                <c:pt idx="2">
                  <c:v>A320 NEO</c:v>
                </c:pt>
                <c:pt idx="3">
                  <c:v>A321 NEO</c:v>
                </c:pt>
                <c:pt idx="4">
                  <c:v>A330 NEO</c:v>
                </c:pt>
                <c:pt idx="5">
                  <c:v>A350</c:v>
                </c:pt>
                <c:pt idx="6">
                  <c:v>TOTAL</c:v>
                </c:pt>
              </c:strCache>
            </c:strRef>
          </c:cat>
          <c:val>
            <c:numRef>
              <c:f>GRAPHIQUES!$C$7:$C$1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-50</c:v>
                </c:pt>
                <c:pt idx="4">
                  <c:v>0</c:v>
                </c:pt>
                <c:pt idx="5">
                  <c:v>-2</c:v>
                </c:pt>
                <c:pt idx="6">
                  <c:v>-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BC-4BB7-9C2C-68AE1A0D922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839199720"/>
        <c:axId val="769388208"/>
      </c:barChart>
      <c:catAx>
        <c:axId val="8391997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769388208"/>
        <c:crosses val="autoZero"/>
        <c:auto val="1"/>
        <c:lblAlgn val="ctr"/>
        <c:lblOffset val="100"/>
        <c:noMultiLvlLbl val="0"/>
      </c:catAx>
      <c:valAx>
        <c:axId val="769388208"/>
        <c:scaling>
          <c:orientation val="minMax"/>
        </c:scaling>
        <c:delete val="1"/>
        <c:axPos val="t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39199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tx2"/>
          </a:solidFill>
        </a:defRPr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60549132947978"/>
          <c:y val="8.1183170618317063E-2"/>
          <c:w val="0.68492533718689785"/>
          <c:h val="0.8376336587633659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348-40A2-BC88-80BE14CC01B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348-40A2-BC88-80BE14CC01B1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348-40A2-BC88-80BE14CC01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16:$A$23</c:f>
              <c:strCache>
                <c:ptCount val="7"/>
                <c:pt idx="0">
                  <c:v>737MAX</c:v>
                </c:pt>
                <c:pt idx="1">
                  <c:v>747</c:v>
                </c:pt>
                <c:pt idx="2">
                  <c:v>767</c:v>
                </c:pt>
                <c:pt idx="3">
                  <c:v>777</c:v>
                </c:pt>
                <c:pt idx="4">
                  <c:v>777X</c:v>
                </c:pt>
                <c:pt idx="5">
                  <c:v>787</c:v>
                </c:pt>
                <c:pt idx="6">
                  <c:v>TOTAL</c:v>
                </c:pt>
              </c:strCache>
              <c:extLst/>
            </c:strRef>
          </c:cat>
          <c:val>
            <c:numRef>
              <c:f>GRAPHIQUES!$B$16:$B$23</c:f>
              <c:numCache>
                <c:formatCode>General</c:formatCode>
                <c:ptCount val="7"/>
                <c:pt idx="0">
                  <c:v>55</c:v>
                </c:pt>
                <c:pt idx="1">
                  <c:v>0</c:v>
                </c:pt>
                <c:pt idx="2">
                  <c:v>0</c:v>
                </c:pt>
                <c:pt idx="3">
                  <c:v>8</c:v>
                </c:pt>
                <c:pt idx="4">
                  <c:v>14</c:v>
                </c:pt>
                <c:pt idx="5">
                  <c:v>0</c:v>
                </c:pt>
                <c:pt idx="6">
                  <c:v>7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2348-40A2-BC88-80BE14CC01B1}"/>
            </c:ext>
          </c:extLst>
        </c:ser>
        <c:ser>
          <c:idx val="1"/>
          <c:order val="1"/>
          <c:spPr>
            <a:solidFill>
              <a:srgbClr val="9396B4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348-40A2-BC88-80BE14CC01B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48-40A2-BC88-80BE14CC01B1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348-40A2-BC88-80BE14CC01B1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348-40A2-BC88-80BE14CC01B1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348-40A2-BC88-80BE14CC01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16:$A$23</c:f>
              <c:strCache>
                <c:ptCount val="7"/>
                <c:pt idx="0">
                  <c:v>737MAX</c:v>
                </c:pt>
                <c:pt idx="1">
                  <c:v>747</c:v>
                </c:pt>
                <c:pt idx="2">
                  <c:v>767</c:v>
                </c:pt>
                <c:pt idx="3">
                  <c:v>777</c:v>
                </c:pt>
                <c:pt idx="4">
                  <c:v>777X</c:v>
                </c:pt>
                <c:pt idx="5">
                  <c:v>787</c:v>
                </c:pt>
                <c:pt idx="6">
                  <c:v>TOTAL</c:v>
                </c:pt>
              </c:strCache>
              <c:extLst/>
            </c:strRef>
          </c:cat>
          <c:val>
            <c:numRef>
              <c:f>GRAPHIQUES!$C$16:$C$23</c:f>
              <c:numCache>
                <c:formatCode>General</c:formatCode>
                <c:ptCount val="7"/>
                <c:pt idx="0">
                  <c:v>-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2348-40A2-BC88-80BE14CC01B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1092172992"/>
        <c:axId val="1092172008"/>
      </c:barChart>
      <c:catAx>
        <c:axId val="10921729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1092172008"/>
        <c:crosses val="autoZero"/>
        <c:auto val="1"/>
        <c:lblAlgn val="ctr"/>
        <c:lblOffset val="100"/>
        <c:noMultiLvlLbl val="0"/>
      </c:catAx>
      <c:valAx>
        <c:axId val="109217200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09217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2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fr-F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634095634095639E-2"/>
          <c:y val="3.7490987743330928E-2"/>
          <c:w val="0.86832986832986836"/>
          <c:h val="0.92501802451333814"/>
        </c:manualLayout>
      </c:layout>
      <c:barChart>
        <c:barDir val="bar"/>
        <c:grouping val="clustered"/>
        <c:varyColors val="0"/>
        <c:ser>
          <c:idx val="0"/>
          <c:order val="0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7.137907137907137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A0D-4B9B-BF32-B725A437688B}"/>
                </c:ext>
              </c:extLst>
            </c:dLbl>
            <c:dLbl>
              <c:idx val="1"/>
              <c:layout>
                <c:manualLayout>
                  <c:x val="0.446292446292446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A0D-4B9B-BF32-B725A437688B}"/>
                </c:ext>
              </c:extLst>
            </c:dLbl>
            <c:dLbl>
              <c:idx val="2"/>
              <c:layout>
                <c:manualLayout>
                  <c:x val="1.8018018018018018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A0D-4B9B-BF32-B725A437688B}"/>
                </c:ext>
              </c:extLst>
            </c:dLbl>
            <c:dLbl>
              <c:idx val="3"/>
              <c:layout>
                <c:manualLayout>
                  <c:x val="7.137907137907137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A0D-4B9B-BF32-B725A437688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5</c:v>
                </c:pt>
                <c:pt idx="1">
                  <c:v>45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A0D-4B9B-BF32-B725A437688B}"/>
            </c:ext>
          </c:extLst>
        </c:ser>
        <c:ser>
          <c:idx val="1"/>
          <c:order val="1"/>
          <c:spPr>
            <a:solidFill>
              <a:srgbClr val="44546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7.137907137907137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A0D-4B9B-BF32-B725A437688B}"/>
                </c:ext>
              </c:extLst>
            </c:dLbl>
            <c:dLbl>
              <c:idx val="1"/>
              <c:layout>
                <c:manualLayout>
                  <c:x val="0.4816354816354816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A0D-4B9B-BF32-B725A437688B}"/>
                </c:ext>
              </c:extLst>
            </c:dLbl>
            <c:dLbl>
              <c:idx val="2"/>
              <c:layout>
                <c:manualLayout>
                  <c:x val="1.8018018018018018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A0D-4B9B-BF32-B725A437688B}"/>
                </c:ext>
              </c:extLst>
            </c:dLbl>
            <c:dLbl>
              <c:idx val="3"/>
              <c:layout>
                <c:manualLayout>
                  <c:x val="7.137907137907137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A0D-4B9B-BF32-B725A437688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5</c:v>
                </c:pt>
                <c:pt idx="1">
                  <c:v>49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A0D-4B9B-BF32-B725A43768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093189640"/>
        <c:axId val="1"/>
      </c:barChart>
      <c:catAx>
        <c:axId val="2093189640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4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931896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F240388-6464-4895-887B-B237F5325D0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5B57CC-6F0C-46CE-BF3A-B9403BC1E3F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30CD56-397E-47D2-B48C-3A5E81C3739D}" type="datetimeFigureOut">
              <a:rPr lang="fr-FR" smtClean="0"/>
              <a:t>16/02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06D7634-2910-4F62-96B4-EB9254B4BA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3299A40-0835-44DD-8B29-CEAB9E3B042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965E39-BAE1-4D28-A36F-AAE1FA28C99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47192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FF5EBF-8145-475B-9597-E7E1FE5F1E58}" type="datetimeFigureOut">
              <a:rPr lang="fr-FR" smtClean="0"/>
              <a:t>16/0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E666B4-33A2-4D1C-9D02-4931444BF20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1704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4640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E666B4-33A2-4D1C-9D02-4931444BF20F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6915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20499" y="494312"/>
            <a:ext cx="4084067" cy="1260000"/>
          </a:xfrm>
          <a:prstGeom prst="rect">
            <a:avLst/>
          </a:prstGeom>
        </p:spPr>
      </p:pic>
      <p:grpSp>
        <p:nvGrpSpPr>
          <p:cNvPr id="51" name="Groupe 50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5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10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10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10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10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11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11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11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11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11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11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11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12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12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13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13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13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133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86887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5564287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73811562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09307394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11510256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>
            <a:off x="720000" y="972102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7366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1149451" y="6192682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886197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5330138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207886487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72856038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8802443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5740791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41859405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99783089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2625808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233622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43963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381014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sp>
        <p:nvSpPr>
          <p:cNvPr id="16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20809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13" name="Groupe 12"/>
          <p:cNvGrpSpPr/>
          <p:nvPr/>
        </p:nvGrpSpPr>
        <p:grpSpPr>
          <a:xfrm>
            <a:off x="3362508" y="2559571"/>
            <a:ext cx="5466984" cy="900000"/>
            <a:chOff x="3580474" y="2559571"/>
            <a:chExt cx="4100238" cy="900000"/>
          </a:xfrm>
        </p:grpSpPr>
        <p:pic>
          <p:nvPicPr>
            <p:cNvPr id="14" name="Image 1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0474" y="2559571"/>
              <a:ext cx="1983052" cy="900000"/>
            </a:xfrm>
            <a:prstGeom prst="rect">
              <a:avLst/>
            </a:prstGeom>
          </p:spPr>
        </p:pic>
        <p:pic>
          <p:nvPicPr>
            <p:cNvPr id="15" name="Image 1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0712" y="2643635"/>
              <a:ext cx="1980000" cy="731871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327462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grpSp>
        <p:nvGrpSpPr>
          <p:cNvPr id="14" name="Groupe 13"/>
          <p:cNvGrpSpPr/>
          <p:nvPr/>
        </p:nvGrpSpPr>
        <p:grpSpPr>
          <a:xfrm>
            <a:off x="3362508" y="2559571"/>
            <a:ext cx="5466984" cy="900000"/>
            <a:chOff x="3580474" y="2559571"/>
            <a:chExt cx="4100238" cy="900000"/>
          </a:xfrm>
        </p:grpSpPr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0474" y="2559571"/>
              <a:ext cx="1983052" cy="900000"/>
            </a:xfrm>
            <a:prstGeom prst="rect">
              <a:avLst/>
            </a:prstGeom>
          </p:spPr>
        </p:pic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0712" y="2643635"/>
              <a:ext cx="1980000" cy="731871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32345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grpSp>
        <p:nvGrpSpPr>
          <p:cNvPr id="12" name="Groupe 11"/>
          <p:cNvGrpSpPr/>
          <p:nvPr/>
        </p:nvGrpSpPr>
        <p:grpSpPr>
          <a:xfrm>
            <a:off x="3228040" y="2556656"/>
            <a:ext cx="5040376" cy="900000"/>
            <a:chOff x="2421030" y="2556656"/>
            <a:chExt cx="3780282" cy="900000"/>
          </a:xfrm>
        </p:grpSpPr>
        <p:pic>
          <p:nvPicPr>
            <p:cNvPr id="15" name="Imag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1030" y="2556656"/>
              <a:ext cx="1983050" cy="900000"/>
            </a:xfrm>
            <a:prstGeom prst="rect">
              <a:avLst/>
            </a:prstGeom>
          </p:spPr>
        </p:pic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07151" y="2556656"/>
              <a:ext cx="1594161" cy="881770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015152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16" name="Groupe 15"/>
          <p:cNvGrpSpPr/>
          <p:nvPr/>
        </p:nvGrpSpPr>
        <p:grpSpPr>
          <a:xfrm>
            <a:off x="3228040" y="2556656"/>
            <a:ext cx="5040376" cy="900000"/>
            <a:chOff x="2421030" y="2556656"/>
            <a:chExt cx="3780282" cy="900000"/>
          </a:xfrm>
        </p:grpSpPr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1030" y="2556656"/>
              <a:ext cx="1983050" cy="900000"/>
            </a:xfrm>
            <a:prstGeom prst="rect">
              <a:avLst/>
            </a:prstGeom>
          </p:spPr>
        </p:pic>
        <p:pic>
          <p:nvPicPr>
            <p:cNvPr id="18" name="Image 1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07151" y="2556656"/>
              <a:ext cx="1594161" cy="881770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1432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2964395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6488027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_USER_LAYOUT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14B2974B-E0D1-4147-81B9-1E7428B8B1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53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14B2974B-E0D1-4147-81B9-1E7428B8B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6D3BA-57F2-4D42-81EE-81AD931330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94422CB1-7BB3-4466-90D4-DB18383BEC2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CF4EB3FB-D647-40B8-AA8F-1FB63E0927D6}"/>
              </a:ext>
            </a:extLst>
          </p:cNvPr>
          <p:cNvCxnSpPr/>
          <p:nvPr userDrawn="1"/>
        </p:nvCxnSpPr>
        <p:spPr bwMode="gray">
          <a:xfrm>
            <a:off x="720000" y="88724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45AE510-8A8E-498B-85E8-6B8737316B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C7BF123-7212-46C1-8A11-D535586F733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96E3679-0E43-4B70-BF4D-1F4AD3DC09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136665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3302820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16617235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26214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9160822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774194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20499" y="494312"/>
            <a:ext cx="4084067" cy="12600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5088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747796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788907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4"/>
            <a:ext cx="2567124" cy="79199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43588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4"/>
            <a:ext cx="2567124" cy="79199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67584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3"/>
            <a:ext cx="2567124" cy="7920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0508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3"/>
            <a:ext cx="2567124" cy="792000"/>
          </a:xfrm>
          <a:prstGeom prst="rect">
            <a:avLst/>
          </a:prstGeom>
        </p:spPr>
      </p:pic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28881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8" y="2206800"/>
            <a:ext cx="4084067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7586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8" y="2206800"/>
            <a:ext cx="4084067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20632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9" y="2206800"/>
            <a:ext cx="4084068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95515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9" y="2206800"/>
            <a:ext cx="4084068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62598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20499" y="494312"/>
            <a:ext cx="4084068" cy="12600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26109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9017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F2AA1F-DED7-450C-9764-41F0A8555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C3AFB3B-8302-46D1-9911-E790A345F8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EA88D6C-E4E2-4BD5-9564-C4D52D5D5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B0B37DE-BC0E-4CC4-88AC-2E0085B9F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1A91DDF-0D72-49DC-888B-0989913A5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619202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grpSp>
        <p:nvGrpSpPr>
          <p:cNvPr id="56" name="Groupe 55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7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8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4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5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6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7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8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9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0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1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2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5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6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7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8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1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2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3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4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7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60986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89920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6"/>
            <a:ext cx="2644067" cy="899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74745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6"/>
            <a:ext cx="2644067" cy="899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16202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4749666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3331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02242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20530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53" name="Picture 140">
            <a:extLst>
              <a:ext uri="{FF2B5EF4-FFF2-40B4-BE49-F238E27FC236}">
                <a16:creationId xmlns:a16="http://schemas.microsoft.com/office/drawing/2014/main" id="{89C50E65-71C2-4092-B817-9ADBA8AF5FB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17585" y="455899"/>
            <a:ext cx="3485755" cy="1433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6098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0833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2093474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2231599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73197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1048610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7366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1149451" y="6192682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236E6DC2-9AA3-4865-86FB-F32D85B3DE54}"/>
              </a:ext>
            </a:extLst>
          </p:cNvPr>
          <p:cNvCxnSpPr/>
          <p:nvPr userDrawn="1"/>
        </p:nvCxnSpPr>
        <p:spPr bwMode="gray">
          <a:xfrm>
            <a:off x="720000" y="901528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6551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9553553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4547416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487518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4257655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1846723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7687106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41461116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056776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2"/>
            <a:ext cx="1903728" cy="648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232387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2"/>
            <a:ext cx="1903728" cy="6480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137770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3"/>
            <a:ext cx="1903728" cy="647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60353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3"/>
            <a:ext cx="1903728" cy="647999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434295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6" y="2559571"/>
            <a:ext cx="2644069" cy="900000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85395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6" y="2559571"/>
            <a:ext cx="2644069" cy="900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561845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7" y="2559571"/>
            <a:ext cx="2644067" cy="900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0223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99457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7" y="2559571"/>
            <a:ext cx="2644067" cy="900000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10211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483" y="1251807"/>
            <a:ext cx="264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04282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483" y="1251807"/>
            <a:ext cx="264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68400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001" y="1035062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99267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001" y="1035062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434736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42614201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5664" y="6317296"/>
            <a:ext cx="1625227" cy="450551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086909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5664" y="6317296"/>
            <a:ext cx="1625227" cy="450551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11885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3545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478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95511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9897287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41735553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70928197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7146413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>
            <a:off x="720000" y="972102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7366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1149451" y="6192682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653594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2192816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20050561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783553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3447290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872776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170676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3843414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43448335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4" y="5803168"/>
            <a:ext cx="1726977" cy="5328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116" y="5920765"/>
            <a:ext cx="2259555" cy="6264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422164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4" y="5803168"/>
            <a:ext cx="1726977" cy="5328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116" y="5920765"/>
            <a:ext cx="2259555" cy="6264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8429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3" y="5803168"/>
            <a:ext cx="1726976" cy="5328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8129" y="5803168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78876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3" y="5803168"/>
            <a:ext cx="1726976" cy="5328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8129" y="5803168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0899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6000" y="2958685"/>
            <a:ext cx="2640000" cy="731869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897968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6000" y="2958685"/>
            <a:ext cx="2640000" cy="731869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589744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581" y="2293640"/>
            <a:ext cx="2736839" cy="113536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95757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581" y="2293640"/>
            <a:ext cx="2736839" cy="113536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57160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476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716038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810169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25438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32642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6581978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37934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68585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80390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400599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194002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oleObject" Target="../embeddings/oleObject3.bin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theme" Target="../theme/theme2.xml"/><Relationship Id="rId35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34" Type="http://schemas.openxmlformats.org/officeDocument/2006/relationships/image" Target="../media/image10.png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oleObject" Target="../embeddings/oleObject4.bin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tags" Target="../tags/tag7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theme" Target="../theme/theme3.xml"/><Relationship Id="rId35" Type="http://schemas.openxmlformats.org/officeDocument/2006/relationships/image" Target="../media/image11.jp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110.xml"/><Relationship Id="rId34" Type="http://schemas.openxmlformats.org/officeDocument/2006/relationships/image" Target="../media/image10.png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29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oleObject" Target="../embeddings/oleObject5.bin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theme" Target="../theme/theme4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28C96408-AA1F-4A71-B776-9DB8FF88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605504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4" imgW="344" imgH="344" progId="TCLayout.ActiveDocument.1">
                  <p:embed/>
                </p:oleObj>
              </mc:Choice>
              <mc:Fallback>
                <p:oleObj name="Diapositive think-cell" r:id="rId34" imgW="344" imgH="344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28C96408-AA1F-4A71-B776-9DB8FF88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49451" y="6347411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347411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53" name="Picture 140">
            <a:extLst>
              <a:ext uri="{FF2B5EF4-FFF2-40B4-BE49-F238E27FC236}">
                <a16:creationId xmlns:a16="http://schemas.microsoft.com/office/drawing/2014/main" id="{61D7638A-5653-41B7-AD32-384DA589B451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55383" y="6495075"/>
            <a:ext cx="681880" cy="28049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08" r:id="rId3"/>
    <p:sldLayoutId id="2147483852" r:id="rId4"/>
    <p:sldLayoutId id="2147483825" r:id="rId5"/>
    <p:sldLayoutId id="2147483840" r:id="rId6"/>
    <p:sldLayoutId id="2147483841" r:id="rId7"/>
    <p:sldLayoutId id="2147483839" r:id="rId8"/>
    <p:sldLayoutId id="2147483853" r:id="rId9"/>
    <p:sldLayoutId id="2147483849" r:id="rId10"/>
    <p:sldLayoutId id="2147483820" r:id="rId11"/>
    <p:sldLayoutId id="2147483850" r:id="rId12"/>
    <p:sldLayoutId id="2147483851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3" r:id="rId19"/>
    <p:sldLayoutId id="2147483842" r:id="rId20"/>
    <p:sldLayoutId id="2147483832" r:id="rId21"/>
    <p:sldLayoutId id="2147483843" r:id="rId22"/>
    <p:sldLayoutId id="2147483822" r:id="rId23"/>
    <p:sldLayoutId id="2147483821" r:id="rId24"/>
    <p:sldLayoutId id="2147483854" r:id="rId25"/>
    <p:sldLayoutId id="2147483846" r:id="rId26"/>
    <p:sldLayoutId id="2147483824" r:id="rId27"/>
    <p:sldLayoutId id="2147483823" r:id="rId28"/>
    <p:sldLayoutId id="2147483855" r:id="rId29"/>
    <p:sldLayoutId id="2147483949" r:id="rId30"/>
    <p:sldLayoutId id="2147483950" r:id="rId31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7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6BFA135A-9966-4F2A-92AF-9F8F667FDB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885707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2" imgW="344" imgH="344" progId="TCLayout.ActiveDocument.1">
                  <p:embed/>
                </p:oleObj>
              </mc:Choice>
              <mc:Fallback>
                <p:oleObj name="Diapositive think-cell" r:id="rId32" imgW="344" imgH="344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6BFA135A-9966-4F2A-92AF-9F8F667FDB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98" name="Picture 140">
            <a:extLst>
              <a:ext uri="{FF2B5EF4-FFF2-40B4-BE49-F238E27FC236}">
                <a16:creationId xmlns:a16="http://schemas.microsoft.com/office/drawing/2014/main" id="{F8D7C6C5-DAB5-4A3D-A939-183A709FA721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55383" y="6495075"/>
            <a:ext cx="681880" cy="280495"/>
          </a:xfrm>
          <a:prstGeom prst="rect">
            <a:avLst/>
          </a:prstGeom>
        </p:spPr>
      </p:pic>
      <p:sp>
        <p:nvSpPr>
          <p:cNvPr id="99" name="Espace réservé du pied de page 4">
            <a:extLst>
              <a:ext uri="{FF2B5EF4-FFF2-40B4-BE49-F238E27FC236}">
                <a16:creationId xmlns:a16="http://schemas.microsoft.com/office/drawing/2014/main" id="{851EAC84-394F-4225-9173-4CC68E7DFB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49451" y="6347411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00" name="Espace réservé du numéro de diapositive 5">
            <a:extLst>
              <a:ext uri="{FF2B5EF4-FFF2-40B4-BE49-F238E27FC236}">
                <a16:creationId xmlns:a16="http://schemas.microsoft.com/office/drawing/2014/main" id="{3E69FC1C-1654-435F-969A-639AE88745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347411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5005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  <p:sldLayoutId id="2147483878" r:id="rId21"/>
    <p:sldLayoutId id="2147483879" r:id="rId22"/>
    <p:sldLayoutId id="2147483880" r:id="rId23"/>
    <p:sldLayoutId id="2147483881" r:id="rId24"/>
    <p:sldLayoutId id="2147483882" r:id="rId25"/>
    <p:sldLayoutId id="2147483883" r:id="rId26"/>
    <p:sldLayoutId id="2147483884" r:id="rId27"/>
    <p:sldLayoutId id="2147483885" r:id="rId28"/>
    <p:sldLayoutId id="2147483886" r:id="rId2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5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F6D765A3-AC8B-4DB5-A9F1-B6BDBCEA75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24239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2" imgW="344" imgH="344" progId="TCLayout.ActiveDocument.1">
                  <p:embed/>
                </p:oleObj>
              </mc:Choice>
              <mc:Fallback>
                <p:oleObj name="Diapositive think-cell" r:id="rId32" imgW="344" imgH="344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F6D765A3-AC8B-4DB5-A9F1-B6BDBCEA7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49451" y="6192682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192682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69" y="6201308"/>
            <a:ext cx="1342648" cy="432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7512" y="6286578"/>
            <a:ext cx="1206033" cy="500314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1836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  <p:sldLayoutId id="2147483916" r:id="rId28"/>
    <p:sldLayoutId id="2147483917" r:id="rId2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6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9F9404E-96A7-41EB-B5EE-8090723F88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738845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2" imgW="344" imgH="344" progId="TCLayout.ActiveDocument.1">
                  <p:embed/>
                </p:oleObj>
              </mc:Choice>
              <mc:Fallback>
                <p:oleObj name="Diapositive think-cell" r:id="rId32" imgW="344" imgH="344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9F9404E-96A7-41EB-B5EE-8090723F88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49451" y="6192682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192682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69" y="6201308"/>
            <a:ext cx="1342648" cy="432000"/>
          </a:xfrm>
          <a:prstGeom prst="rect">
            <a:avLst/>
          </a:prstGeom>
        </p:spPr>
      </p:pic>
      <p:grpSp>
        <p:nvGrpSpPr>
          <p:cNvPr id="52" name="Groupe 5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8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3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4036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  <p:sldLayoutId id="2147483932" r:id="rId13"/>
    <p:sldLayoutId id="2147483933" r:id="rId14"/>
    <p:sldLayoutId id="2147483934" r:id="rId15"/>
    <p:sldLayoutId id="2147483935" r:id="rId16"/>
    <p:sldLayoutId id="2147483936" r:id="rId17"/>
    <p:sldLayoutId id="2147483937" r:id="rId18"/>
    <p:sldLayoutId id="2147483938" r:id="rId19"/>
    <p:sldLayoutId id="2147483939" r:id="rId20"/>
    <p:sldLayoutId id="2147483940" r:id="rId21"/>
    <p:sldLayoutId id="2147483941" r:id="rId22"/>
    <p:sldLayoutId id="2147483942" r:id="rId23"/>
    <p:sldLayoutId id="2147483943" r:id="rId24"/>
    <p:sldLayoutId id="2147483944" r:id="rId25"/>
    <p:sldLayoutId id="2147483945" r:id="rId26"/>
    <p:sldLayoutId id="2147483946" r:id="rId27"/>
    <p:sldLayoutId id="2147483947" r:id="rId28"/>
    <p:sldLayoutId id="2147483948" r:id="rId2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5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slideLayout" Target="../slideLayouts/slideLayout14.xml"/><Relationship Id="rId7" Type="http://schemas.openxmlformats.org/officeDocument/2006/relationships/package" Target="../embeddings/Microsoft_Excel_Worksheet9.xlsx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8.png"/><Relationship Id="rId18" Type="http://schemas.openxmlformats.org/officeDocument/2006/relationships/image" Target="../media/image21.png"/><Relationship Id="rId3" Type="http://schemas.openxmlformats.org/officeDocument/2006/relationships/tags" Target="../tags/tag15.xml"/><Relationship Id="rId7" Type="http://schemas.openxmlformats.org/officeDocument/2006/relationships/image" Target="../media/image13.emf"/><Relationship Id="rId12" Type="http://schemas.openxmlformats.org/officeDocument/2006/relationships/image" Target="../media/image17.svg"/><Relationship Id="rId17" Type="http://schemas.openxmlformats.org/officeDocument/2006/relationships/image" Target="../media/image20.png"/><Relationship Id="rId2" Type="http://schemas.openxmlformats.org/officeDocument/2006/relationships/tags" Target="../tags/tag14.xml"/><Relationship Id="rId16" Type="http://schemas.openxmlformats.org/officeDocument/2006/relationships/chart" Target="../charts/chart2.xml"/><Relationship Id="rId1" Type="http://schemas.openxmlformats.org/officeDocument/2006/relationships/tags" Target="../tags/tag13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14.xml"/><Relationship Id="rId15" Type="http://schemas.openxmlformats.org/officeDocument/2006/relationships/chart" Target="../charts/chart1.xml"/><Relationship Id="rId10" Type="http://schemas.openxmlformats.org/officeDocument/2006/relationships/image" Target="../media/image3.png"/><Relationship Id="rId19" Type="http://schemas.openxmlformats.org/officeDocument/2006/relationships/image" Target="../media/image22.png"/><Relationship Id="rId4" Type="http://schemas.openxmlformats.org/officeDocument/2006/relationships/tags" Target="../tags/tag16.xml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42.xml"/><Relationship Id="rId21" Type="http://schemas.openxmlformats.org/officeDocument/2006/relationships/tags" Target="../tags/tag37.xml"/><Relationship Id="rId34" Type="http://schemas.openxmlformats.org/officeDocument/2006/relationships/tags" Target="../tags/tag50.xml"/><Relationship Id="rId42" Type="http://schemas.openxmlformats.org/officeDocument/2006/relationships/tags" Target="../tags/tag58.xml"/><Relationship Id="rId47" Type="http://schemas.openxmlformats.org/officeDocument/2006/relationships/tags" Target="../tags/tag63.xml"/><Relationship Id="rId50" Type="http://schemas.openxmlformats.org/officeDocument/2006/relationships/tags" Target="../tags/tag66.xml"/><Relationship Id="rId55" Type="http://schemas.openxmlformats.org/officeDocument/2006/relationships/tags" Target="../tags/tag71.xml"/><Relationship Id="rId63" Type="http://schemas.openxmlformats.org/officeDocument/2006/relationships/tags" Target="../tags/tag79.xml"/><Relationship Id="rId68" Type="http://schemas.openxmlformats.org/officeDocument/2006/relationships/tags" Target="../tags/tag84.xml"/><Relationship Id="rId76" Type="http://schemas.openxmlformats.org/officeDocument/2006/relationships/tags" Target="../tags/tag92.xml"/><Relationship Id="rId84" Type="http://schemas.openxmlformats.org/officeDocument/2006/relationships/tags" Target="../tags/tag100.xml"/><Relationship Id="rId89" Type="http://schemas.openxmlformats.org/officeDocument/2006/relationships/notesSlide" Target="../notesSlides/notesSlide1.xml"/><Relationship Id="rId97" Type="http://schemas.openxmlformats.org/officeDocument/2006/relationships/image" Target="../media/image3.png"/><Relationship Id="rId7" Type="http://schemas.openxmlformats.org/officeDocument/2006/relationships/tags" Target="../tags/tag23.xml"/><Relationship Id="rId71" Type="http://schemas.openxmlformats.org/officeDocument/2006/relationships/tags" Target="../tags/tag87.xml"/><Relationship Id="rId92" Type="http://schemas.openxmlformats.org/officeDocument/2006/relationships/image" Target="../media/image15.png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9" Type="http://schemas.openxmlformats.org/officeDocument/2006/relationships/tags" Target="../tags/tag45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32" Type="http://schemas.openxmlformats.org/officeDocument/2006/relationships/tags" Target="../tags/tag48.xml"/><Relationship Id="rId37" Type="http://schemas.openxmlformats.org/officeDocument/2006/relationships/tags" Target="../tags/tag53.xml"/><Relationship Id="rId40" Type="http://schemas.openxmlformats.org/officeDocument/2006/relationships/tags" Target="../tags/tag56.xml"/><Relationship Id="rId45" Type="http://schemas.openxmlformats.org/officeDocument/2006/relationships/tags" Target="../tags/tag61.xml"/><Relationship Id="rId53" Type="http://schemas.openxmlformats.org/officeDocument/2006/relationships/tags" Target="../tags/tag69.xml"/><Relationship Id="rId58" Type="http://schemas.openxmlformats.org/officeDocument/2006/relationships/tags" Target="../tags/tag74.xml"/><Relationship Id="rId66" Type="http://schemas.openxmlformats.org/officeDocument/2006/relationships/tags" Target="../tags/tag82.xml"/><Relationship Id="rId74" Type="http://schemas.openxmlformats.org/officeDocument/2006/relationships/tags" Target="../tags/tag90.xml"/><Relationship Id="rId79" Type="http://schemas.openxmlformats.org/officeDocument/2006/relationships/tags" Target="../tags/tag95.xml"/><Relationship Id="rId87" Type="http://schemas.openxmlformats.org/officeDocument/2006/relationships/tags" Target="../tags/tag103.xml"/><Relationship Id="rId102" Type="http://schemas.openxmlformats.org/officeDocument/2006/relationships/chart" Target="../charts/chart8.xml"/><Relationship Id="rId5" Type="http://schemas.openxmlformats.org/officeDocument/2006/relationships/tags" Target="../tags/tag21.xml"/><Relationship Id="rId61" Type="http://schemas.openxmlformats.org/officeDocument/2006/relationships/tags" Target="../tags/tag77.xml"/><Relationship Id="rId82" Type="http://schemas.openxmlformats.org/officeDocument/2006/relationships/tags" Target="../tags/tag98.xml"/><Relationship Id="rId90" Type="http://schemas.openxmlformats.org/officeDocument/2006/relationships/oleObject" Target="../embeddings/oleObject9.bin"/><Relationship Id="rId95" Type="http://schemas.openxmlformats.org/officeDocument/2006/relationships/image" Target="../media/image14.png"/><Relationship Id="rId19" Type="http://schemas.openxmlformats.org/officeDocument/2006/relationships/tags" Target="../tags/tag3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tags" Target="../tags/tag46.xml"/><Relationship Id="rId35" Type="http://schemas.openxmlformats.org/officeDocument/2006/relationships/tags" Target="../tags/tag51.xml"/><Relationship Id="rId43" Type="http://schemas.openxmlformats.org/officeDocument/2006/relationships/tags" Target="../tags/tag59.xml"/><Relationship Id="rId48" Type="http://schemas.openxmlformats.org/officeDocument/2006/relationships/tags" Target="../tags/tag64.xml"/><Relationship Id="rId56" Type="http://schemas.openxmlformats.org/officeDocument/2006/relationships/tags" Target="../tags/tag72.xml"/><Relationship Id="rId64" Type="http://schemas.openxmlformats.org/officeDocument/2006/relationships/tags" Target="../tags/tag80.xml"/><Relationship Id="rId69" Type="http://schemas.openxmlformats.org/officeDocument/2006/relationships/tags" Target="../tags/tag85.xml"/><Relationship Id="rId77" Type="http://schemas.openxmlformats.org/officeDocument/2006/relationships/tags" Target="../tags/tag93.xml"/><Relationship Id="rId100" Type="http://schemas.openxmlformats.org/officeDocument/2006/relationships/chart" Target="../charts/chart6.xml"/><Relationship Id="rId8" Type="http://schemas.openxmlformats.org/officeDocument/2006/relationships/tags" Target="../tags/tag24.xml"/><Relationship Id="rId51" Type="http://schemas.openxmlformats.org/officeDocument/2006/relationships/tags" Target="../tags/tag67.xml"/><Relationship Id="rId72" Type="http://schemas.openxmlformats.org/officeDocument/2006/relationships/tags" Target="../tags/tag88.xml"/><Relationship Id="rId80" Type="http://schemas.openxmlformats.org/officeDocument/2006/relationships/tags" Target="../tags/tag96.xml"/><Relationship Id="rId85" Type="http://schemas.openxmlformats.org/officeDocument/2006/relationships/tags" Target="../tags/tag101.xml"/><Relationship Id="rId93" Type="http://schemas.openxmlformats.org/officeDocument/2006/relationships/image" Target="../media/image23.png"/><Relationship Id="rId98" Type="http://schemas.openxmlformats.org/officeDocument/2006/relationships/chart" Target="../charts/chart4.xml"/><Relationship Id="rId3" Type="http://schemas.openxmlformats.org/officeDocument/2006/relationships/tags" Target="../tags/tag19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tags" Target="../tags/tag49.xml"/><Relationship Id="rId38" Type="http://schemas.openxmlformats.org/officeDocument/2006/relationships/tags" Target="../tags/tag54.xml"/><Relationship Id="rId46" Type="http://schemas.openxmlformats.org/officeDocument/2006/relationships/tags" Target="../tags/tag62.xml"/><Relationship Id="rId59" Type="http://schemas.openxmlformats.org/officeDocument/2006/relationships/tags" Target="../tags/tag75.xml"/><Relationship Id="rId67" Type="http://schemas.openxmlformats.org/officeDocument/2006/relationships/tags" Target="../tags/tag83.xml"/><Relationship Id="rId20" Type="http://schemas.openxmlformats.org/officeDocument/2006/relationships/tags" Target="../tags/tag36.xml"/><Relationship Id="rId41" Type="http://schemas.openxmlformats.org/officeDocument/2006/relationships/tags" Target="../tags/tag57.xml"/><Relationship Id="rId54" Type="http://schemas.openxmlformats.org/officeDocument/2006/relationships/tags" Target="../tags/tag70.xml"/><Relationship Id="rId62" Type="http://schemas.openxmlformats.org/officeDocument/2006/relationships/tags" Target="../tags/tag78.xml"/><Relationship Id="rId70" Type="http://schemas.openxmlformats.org/officeDocument/2006/relationships/tags" Target="../tags/tag86.xml"/><Relationship Id="rId75" Type="http://schemas.openxmlformats.org/officeDocument/2006/relationships/tags" Target="../tags/tag91.xml"/><Relationship Id="rId83" Type="http://schemas.openxmlformats.org/officeDocument/2006/relationships/tags" Target="../tags/tag99.xml"/><Relationship Id="rId88" Type="http://schemas.openxmlformats.org/officeDocument/2006/relationships/slideLayout" Target="../slideLayouts/slideLayout14.xml"/><Relationship Id="rId91" Type="http://schemas.openxmlformats.org/officeDocument/2006/relationships/image" Target="../media/image1.emf"/><Relationship Id="rId96" Type="http://schemas.openxmlformats.org/officeDocument/2006/relationships/chart" Target="../charts/chart3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tags" Target="../tags/tag52.xml"/><Relationship Id="rId49" Type="http://schemas.openxmlformats.org/officeDocument/2006/relationships/tags" Target="../tags/tag65.xml"/><Relationship Id="rId57" Type="http://schemas.openxmlformats.org/officeDocument/2006/relationships/tags" Target="../tags/tag73.xml"/><Relationship Id="rId10" Type="http://schemas.openxmlformats.org/officeDocument/2006/relationships/tags" Target="../tags/tag26.xml"/><Relationship Id="rId31" Type="http://schemas.openxmlformats.org/officeDocument/2006/relationships/tags" Target="../tags/tag47.xml"/><Relationship Id="rId44" Type="http://schemas.openxmlformats.org/officeDocument/2006/relationships/tags" Target="../tags/tag60.xml"/><Relationship Id="rId52" Type="http://schemas.openxmlformats.org/officeDocument/2006/relationships/tags" Target="../tags/tag68.xml"/><Relationship Id="rId60" Type="http://schemas.openxmlformats.org/officeDocument/2006/relationships/tags" Target="../tags/tag76.xml"/><Relationship Id="rId65" Type="http://schemas.openxmlformats.org/officeDocument/2006/relationships/tags" Target="../tags/tag81.xml"/><Relationship Id="rId73" Type="http://schemas.openxmlformats.org/officeDocument/2006/relationships/tags" Target="../tags/tag89.xml"/><Relationship Id="rId78" Type="http://schemas.openxmlformats.org/officeDocument/2006/relationships/tags" Target="../tags/tag94.xml"/><Relationship Id="rId81" Type="http://schemas.openxmlformats.org/officeDocument/2006/relationships/tags" Target="../tags/tag97.xml"/><Relationship Id="rId86" Type="http://schemas.openxmlformats.org/officeDocument/2006/relationships/tags" Target="../tags/tag102.xml"/><Relationship Id="rId94" Type="http://schemas.openxmlformats.org/officeDocument/2006/relationships/image" Target="../media/image24.png"/><Relationship Id="rId99" Type="http://schemas.openxmlformats.org/officeDocument/2006/relationships/chart" Target="../charts/chart5.xml"/><Relationship Id="rId101" Type="http://schemas.openxmlformats.org/officeDocument/2006/relationships/chart" Target="../charts/chart7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9" Type="http://schemas.openxmlformats.org/officeDocument/2006/relationships/tags" Target="../tags/tag5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26" Type="http://schemas.openxmlformats.org/officeDocument/2006/relationships/image" Target="../media/image1.emf"/><Relationship Id="rId3" Type="http://schemas.openxmlformats.org/officeDocument/2006/relationships/tags" Target="../tags/tag106.xml"/><Relationship Id="rId21" Type="http://schemas.openxmlformats.org/officeDocument/2006/relationships/tags" Target="../tags/tag124.xml"/><Relationship Id="rId34" Type="http://schemas.openxmlformats.org/officeDocument/2006/relationships/image" Target="../media/image25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5" Type="http://schemas.openxmlformats.org/officeDocument/2006/relationships/oleObject" Target="../embeddings/oleObject10.bin"/><Relationship Id="rId33" Type="http://schemas.openxmlformats.org/officeDocument/2006/relationships/image" Target="../media/image24.png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tags" Target="../tags/tag123.xml"/><Relationship Id="rId29" Type="http://schemas.openxmlformats.org/officeDocument/2006/relationships/chart" Target="../charts/chart9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24" Type="http://schemas.openxmlformats.org/officeDocument/2006/relationships/notesSlide" Target="../notesSlides/notesSlide2.xml"/><Relationship Id="rId32" Type="http://schemas.openxmlformats.org/officeDocument/2006/relationships/image" Target="../media/image23.png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23" Type="http://schemas.openxmlformats.org/officeDocument/2006/relationships/slideLayout" Target="../slideLayouts/slideLayout14.xml"/><Relationship Id="rId28" Type="http://schemas.openxmlformats.org/officeDocument/2006/relationships/image" Target="../media/image14.png"/><Relationship Id="rId10" Type="http://schemas.openxmlformats.org/officeDocument/2006/relationships/tags" Target="../tags/tag113.xml"/><Relationship Id="rId19" Type="http://schemas.openxmlformats.org/officeDocument/2006/relationships/tags" Target="../tags/tag122.xml"/><Relationship Id="rId31" Type="http://schemas.openxmlformats.org/officeDocument/2006/relationships/chart" Target="../charts/chart10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Relationship Id="rId22" Type="http://schemas.openxmlformats.org/officeDocument/2006/relationships/tags" Target="../tags/tag125.xml"/><Relationship Id="rId27" Type="http://schemas.openxmlformats.org/officeDocument/2006/relationships/image" Target="../media/image15.png"/><Relationship Id="rId30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.xlsx"/><Relationship Id="rId3" Type="http://schemas.openxmlformats.org/officeDocument/2006/relationships/tags" Target="../tags/tag128.xml"/><Relationship Id="rId7" Type="http://schemas.openxmlformats.org/officeDocument/2006/relationships/image" Target="../media/image14.png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slideLayout" Target="../slideLayouts/slideLayout14.xml"/><Relationship Id="rId7" Type="http://schemas.openxmlformats.org/officeDocument/2006/relationships/package" Target="../embeddings/Microsoft_Excel_Worksheet6.xlsx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8.emf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package" Target="../embeddings/Microsoft_Excel_Worksheet7.xlsx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slideLayout" Target="../slideLayouts/slideLayout14.xml"/><Relationship Id="rId7" Type="http://schemas.openxmlformats.org/officeDocument/2006/relationships/package" Target="../embeddings/Microsoft_Excel_Worksheet8.xlsx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D79D345A-F3AE-4DAD-A3B3-8A8997AFD0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0327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21" imgH="425" progId="TCLayout.ActiveDocument.1">
                  <p:embed/>
                </p:oleObj>
              </mc:Choice>
              <mc:Fallback>
                <p:oleObj name="Diapositive think-cell" r:id="rId4" imgW="421" imgH="425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D79D345A-F3AE-4DAD-A3B3-8A8997AFD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C45E36E-01C1-48AD-A35D-FC626F8109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ous-titre 1">
            <a:extLst>
              <a:ext uri="{FF2B5EF4-FFF2-40B4-BE49-F238E27FC236}">
                <a16:creationId xmlns:a16="http://schemas.microsoft.com/office/drawing/2014/main" id="{71155487-2948-4B79-B454-10A25402BA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9999" y="4533790"/>
            <a:ext cx="7200000" cy="892681"/>
          </a:xfrm>
        </p:spPr>
        <p:txBody>
          <a:bodyPr/>
          <a:lstStyle/>
          <a:p>
            <a:pPr algn="ctr"/>
            <a:r>
              <a:rPr lang="fr-FR" sz="2000" dirty="0"/>
              <a:t>Janvier 2022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112CBE1-AED7-4441-AC37-62CEB63C5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FCAC40A-5772-409F-94C4-B07936A52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2D32FCD6-F0A9-418A-8BE5-F7A667BDE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8" y="2657915"/>
            <a:ext cx="7625715" cy="1512168"/>
          </a:xfrm>
        </p:spPr>
        <p:txBody>
          <a:bodyPr anchor="ctr"/>
          <a:lstStyle/>
          <a:p>
            <a:r>
              <a:rPr lang="fr-FR" dirty="0"/>
              <a:t>DASHBOARD MARCHE AERONAUTIQUE</a:t>
            </a:r>
          </a:p>
        </p:txBody>
      </p:sp>
      <p:pic>
        <p:nvPicPr>
          <p:cNvPr id="8" name="Image 31">
            <a:extLst>
              <a:ext uri="{FF2B5EF4-FFF2-40B4-BE49-F238E27FC236}">
                <a16:creationId xmlns:a16="http://schemas.microsoft.com/office/drawing/2014/main" id="{7E5578D3-3745-4D08-816C-5DE494E4CAA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4064539" y="3483807"/>
            <a:ext cx="936633" cy="936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641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CC955E23-F32A-40DC-941D-B43174DD60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227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CC955E23-F32A-40DC-941D-B43174DD6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C53F206-7E74-462B-9214-12AA6497D8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B77A387-E35E-4408-85E6-BA5689DA3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5 : Nb d’avions produits non-livrés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B82CE22-E919-4C01-8F14-5DC2F5AF3D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FFDC2EA-0859-4AB1-9FE8-460E154C4D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10</a:t>
            </a:fld>
            <a:endParaRPr lang="fr-FR" dirty="0"/>
          </a:p>
        </p:txBody>
      </p:sp>
      <p:pic>
        <p:nvPicPr>
          <p:cNvPr id="16" name="Image 31">
            <a:extLst>
              <a:ext uri="{FF2B5EF4-FFF2-40B4-BE49-F238E27FC236}">
                <a16:creationId xmlns:a16="http://schemas.microsoft.com/office/drawing/2014/main" id="{06FC6698-3CD9-45A0-A54C-AC72E019C99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graphicFrame>
        <p:nvGraphicFramePr>
          <p:cNvPr id="2" name="Objet 1">
            <a:extLst>
              <a:ext uri="{FF2B5EF4-FFF2-40B4-BE49-F238E27FC236}">
                <a16:creationId xmlns:a16="http://schemas.microsoft.com/office/drawing/2014/main" id="{85E86C04-BA18-4F78-8664-B777B04F2AB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97947804"/>
              </p:ext>
            </p:extLst>
          </p:nvPr>
        </p:nvGraphicFramePr>
        <p:xfrm>
          <a:off x="4114801" y="1551065"/>
          <a:ext cx="3773874" cy="42656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3362433" imgH="3800475" progId="Excel.Sheet.12">
                  <p:embed/>
                </p:oleObj>
              </mc:Choice>
              <mc:Fallback>
                <p:oleObj name="Worksheet" r:id="rId7" imgW="3362433" imgH="3800475" progId="Excel.Sheet.12">
                  <p:embed/>
                  <p:pic>
                    <p:nvPicPr>
                      <p:cNvPr id="2" name="Objet 1">
                        <a:extLst>
                          <a:ext uri="{FF2B5EF4-FFF2-40B4-BE49-F238E27FC236}">
                            <a16:creationId xmlns:a16="http://schemas.microsoft.com/office/drawing/2014/main" id="{85E86C04-BA18-4F78-8664-B777B04F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114801" y="1551065"/>
                        <a:ext cx="3773874" cy="42656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0952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6D9AB6-E237-4C6E-821B-31F8C3ED70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5764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21" imgH="425" progId="TCLayout.ActiveDocument.1">
                  <p:embed/>
                </p:oleObj>
              </mc:Choice>
              <mc:Fallback>
                <p:oleObj name="Diapositive think-cell" r:id="rId4" imgW="421" imgH="425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6D9AB6-E237-4C6E-821B-31F8C3ED7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F602319-9FE6-468F-9C64-A3F51797A8E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23203ED-EC42-4EE3-B4A9-03B13C87B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cap="small" dirty="0"/>
              <a:t>Faits Marquants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CF6DB7C-9122-47F9-8DB5-454E26AF093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996FB57-2D99-4F2D-AB78-B70B35F5A5D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</a:t>
            </a:fld>
            <a:endParaRPr lang="fr-FR" dirty="0"/>
          </a:p>
        </p:txBody>
      </p:sp>
      <p:pic>
        <p:nvPicPr>
          <p:cNvPr id="15" name="Image 31">
            <a:extLst>
              <a:ext uri="{FF2B5EF4-FFF2-40B4-BE49-F238E27FC236}">
                <a16:creationId xmlns:a16="http://schemas.microsoft.com/office/drawing/2014/main" id="{E5BADAE8-4ADF-4B27-9178-4302935984E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77916895-3A80-4E39-8AA6-C061A20B913A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4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A68FD972-9CA0-4E04-A011-04EB94EF43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8333" y="1321436"/>
            <a:ext cx="6038249" cy="5025975"/>
          </a:xfrm>
        </p:spPr>
        <p:txBody>
          <a:bodyPr lIns="0" tIns="0" rIns="0" bIns="0"/>
          <a:lstStyle/>
          <a:p>
            <a:pPr marL="0" lvl="2" indent="0" algn="just">
              <a:spcBef>
                <a:spcPts val="200"/>
              </a:spcBef>
              <a:buNone/>
            </a:pPr>
            <a:endParaRPr lang="fr-FR" sz="100" b="0" dirty="0">
              <a:solidFill>
                <a:srgbClr val="1A00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lvl="2" indent="0" algn="just">
              <a:spcBef>
                <a:spcPts val="200"/>
              </a:spcBef>
              <a:buNone/>
            </a:pPr>
            <a:r>
              <a:rPr lang="fr-FR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FM</a:t>
            </a:r>
          </a:p>
          <a:p>
            <a:pPr marL="270000" marR="0" lvl="2" indent="-27000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Blip>
                <a:blip r:embed="rId7"/>
              </a:buBlip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s moteurs 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AP-1A et LEAP-1B 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nt l’objet d’une pré-recommandation de la FAA concernant la durée d’utilisation de diverses pièces des parties haute et basse pression dont des disques. Ce 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é-avis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fait suite à la communication de CFM sur la présence de 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reckles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ans des billettes de R65. 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 LEAP-1A fait également l’objet d’une recommandation de remplacement de l’étage 4 de la turbine BP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  <a:p>
            <a:pPr marL="0" marR="0" lvl="2" indent="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None/>
              <a:tabLst/>
              <a:defRPr/>
            </a:pP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 2020, la FAA avait déjà émis le même avis pour l’étage 2 de la turbine HP du </a:t>
            </a:r>
            <a:r>
              <a:rPr lang="fr-FR" sz="1200" b="0" dirty="0" err="1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X</a:t>
            </a:r>
            <a:endParaRPr lang="fr-FR" sz="1200" b="0" dirty="0">
              <a:solidFill>
                <a:srgbClr val="1A00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2" indent="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lang="fr-FR" sz="900" b="0" cap="small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75" lvl="1" algn="just">
              <a:spcBef>
                <a:spcPts val="200"/>
              </a:spcBef>
            </a:pPr>
            <a:r>
              <a:rPr lang="fr-FR" sz="1400" b="1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her</a:t>
            </a:r>
          </a:p>
          <a:p>
            <a:pPr marL="270000" marR="0" lvl="2" indent="-27000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Blip>
                <a:blip r:embed="rId7"/>
              </a:buBlip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her est entrée en 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égociation exclusive Triumph Group pour l’acquisition 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’une unité de 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srgbClr val="1A00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duction et d’assemblage d’aérostructures métalliques (caissons centraux de voilure, éléments de voilure et d’empennage, fuselages ou gouvernes)</a:t>
            </a:r>
          </a:p>
          <a:p>
            <a:pPr marL="3175" lvl="1" algn="just">
              <a:spcBef>
                <a:spcPts val="200"/>
              </a:spcBef>
            </a:pPr>
            <a:endParaRPr lang="fr-FR" sz="1400" b="1" cap="small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75" lvl="1" algn="just">
              <a:spcBef>
                <a:spcPts val="200"/>
              </a:spcBef>
            </a:pPr>
            <a:r>
              <a:rPr lang="fr-FR" sz="1400" b="1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ited Engine Corporation </a:t>
            </a:r>
          </a:p>
          <a:p>
            <a:pPr lvl="2" algn="just">
              <a:spcBef>
                <a:spcPts val="200"/>
              </a:spcBef>
            </a:pP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 nouveau réacteur 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D-8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qui motorisera 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 version russifiée du </a:t>
            </a:r>
            <a:r>
              <a:rPr lang="fr-FR" sz="1200" dirty="0" err="1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erjet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00, en remplacement du SAM 146, 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ent de franchir une nouvelle étape avec les premiers essais de ses parties chaudes sur banc. Le PD-8 va encore subir de nombreux essais avant la certification du moteur prévue en 2023. </a:t>
            </a: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 SSJ-NEW vise une mise en service en 2024 </a:t>
            </a:r>
            <a:endParaRPr lang="fr-FR" sz="1400" cap="small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75" lvl="1" algn="just">
              <a:spcBef>
                <a:spcPts val="200"/>
              </a:spcBef>
            </a:pPr>
            <a:endParaRPr lang="fr-FR" sz="1400" b="1" cap="small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6B659271-D2B0-43A6-A615-868AB1F22A09}"/>
              </a:ext>
            </a:extLst>
          </p:cNvPr>
          <p:cNvSpPr txBox="1"/>
          <p:nvPr/>
        </p:nvSpPr>
        <p:spPr>
          <a:xfrm>
            <a:off x="6514424" y="1321436"/>
            <a:ext cx="49575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cap="small" dirty="0">
                <a:solidFill>
                  <a:schemeClr val="accent2"/>
                </a:solidFill>
              </a:rPr>
              <a:t>Trafic Aérien</a:t>
            </a:r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590C42B4-AB92-43C7-BBAC-246628D30A05}"/>
              </a:ext>
            </a:extLst>
          </p:cNvPr>
          <p:cNvSpPr txBox="1">
            <a:spLocks/>
          </p:cNvSpPr>
          <p:nvPr/>
        </p:nvSpPr>
        <p:spPr>
          <a:xfrm>
            <a:off x="6467416" y="1690206"/>
            <a:ext cx="4957576" cy="3477587"/>
          </a:xfrm>
          <a:prstGeom prst="rect">
            <a:avLst/>
          </a:prstGeom>
        </p:spPr>
        <p:txBody>
          <a:bodyPr/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 algn="just">
              <a:spcBef>
                <a:spcPts val="600"/>
              </a:spcBef>
              <a:spcAft>
                <a:spcPts val="600"/>
              </a:spcAft>
            </a:pPr>
            <a:r>
              <a:rPr lang="fr-FR" sz="1200" b="0" dirty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reprise du transport aérien s'est poursuivie en fin d'année </a:t>
            </a:r>
            <a:r>
              <a:rPr lang="fr-FR" sz="1200" b="0" dirty="0">
                <a:latin typeface="Calibri" panose="020F0502020204030204" pitchFamily="34" charset="0"/>
                <a:cs typeface="Calibri" panose="020F0502020204030204" pitchFamily="34" charset="0"/>
              </a:rPr>
              <a:t>malgré les perturbations d'Omicron, en baisse de 45,1 % en décembre 2021 par rapport à décembre 2019.</a:t>
            </a:r>
          </a:p>
          <a:p>
            <a:pPr marL="177800" lvl="2" indent="-177800" algn="just">
              <a:spcBef>
                <a:spcPts val="600"/>
              </a:spcBef>
              <a:spcAft>
                <a:spcPts val="600"/>
              </a:spcAft>
            </a:pPr>
            <a:endParaRPr lang="fr-FR" sz="3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lvl="2" indent="-177800" algn="just">
              <a:spcBef>
                <a:spcPts val="600"/>
              </a:spcBef>
              <a:spcAft>
                <a:spcPts val="600"/>
              </a:spcAft>
            </a:pP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L’impact du variant Omicron a été variable </a:t>
            </a:r>
            <a:r>
              <a:rPr lang="fr-FR" sz="1200" b="0" dirty="0">
                <a:latin typeface="Calibri" panose="020F0502020204030204" pitchFamily="34" charset="0"/>
                <a:cs typeface="Calibri" panose="020F0502020204030204" pitchFamily="34" charset="0"/>
              </a:rPr>
              <a:t>selon les pays 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en janvier </a:t>
            </a:r>
            <a:r>
              <a:rPr lang="fr-FR" sz="1200" b="0" dirty="0">
                <a:latin typeface="Calibri" panose="020F0502020204030204" pitchFamily="34" charset="0"/>
                <a:cs typeface="Calibri" panose="020F0502020204030204" pitchFamily="34" charset="0"/>
              </a:rPr>
              <a:t>: alors que 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l’Europe a connu un recul du trafic </a:t>
            </a:r>
            <a:r>
              <a:rPr lang="fr-FR" sz="1200" b="0" dirty="0">
                <a:latin typeface="Calibri" panose="020F0502020204030204" pitchFamily="34" charset="0"/>
                <a:cs typeface="Calibri" panose="020F0502020204030204" pitchFamily="34" charset="0"/>
              </a:rPr>
              <a:t>par rapport à décembre 2021 (-10 points), 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le trafic en Chine a poursuivi sa croissance </a:t>
            </a:r>
            <a:r>
              <a:rPr lang="fr-FR" sz="1200" b="0" dirty="0">
                <a:latin typeface="Calibri" panose="020F0502020204030204" pitchFamily="34" charset="0"/>
                <a:cs typeface="Calibri" panose="020F0502020204030204" pitchFamily="34" charset="0"/>
              </a:rPr>
              <a:t>(+4%) grâce aux vols domestiques. </a:t>
            </a:r>
          </a:p>
          <a:p>
            <a:pPr marL="177800" lvl="2" indent="-177800" algn="just">
              <a:spcBef>
                <a:spcPts val="600"/>
              </a:spcBef>
              <a:spcAft>
                <a:spcPts val="600"/>
              </a:spcAft>
            </a:pPr>
            <a:endParaRPr lang="fr-FR" sz="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lvl="2" indent="-177800" algn="just">
              <a:spcBef>
                <a:spcPts val="600"/>
              </a:spcBef>
              <a:spcAft>
                <a:spcPts val="600"/>
              </a:spcAft>
            </a:pP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Les ventes de billets pour de futurs voyages se sont détériorées </a:t>
            </a:r>
            <a:r>
              <a:rPr lang="fr-FR" sz="1200" b="0" dirty="0">
                <a:latin typeface="Calibri" panose="020F0502020204030204" pitchFamily="34" charset="0"/>
                <a:cs typeface="Calibri" panose="020F0502020204030204" pitchFamily="34" charset="0"/>
              </a:rPr>
              <a:t>depuis novembre sur les routes intérieures et internationales. Cela suggère que la période janvier-février traditionnellement moins occupée sera encore plus faible que de coutume.</a:t>
            </a:r>
            <a:endParaRPr lang="fr-CA" sz="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60292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t 30" hidden="1">
            <a:extLst>
              <a:ext uri="{FF2B5EF4-FFF2-40B4-BE49-F238E27FC236}">
                <a16:creationId xmlns:a16="http://schemas.microsoft.com/office/drawing/2014/main" id="{CF982A77-D6AC-4875-925C-A532A98C61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7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421" imgH="425" progId="TCLayout.ActiveDocument.1">
                  <p:embed/>
                </p:oleObj>
              </mc:Choice>
              <mc:Fallback>
                <p:oleObj name="Diapositive think-cell" r:id="rId6" imgW="421" imgH="425" progId="TCLayout.ActiveDocument.1">
                  <p:embed/>
                  <p:pic>
                    <p:nvPicPr>
                      <p:cNvPr id="31" name="Objet 30" hidden="1">
                        <a:extLst>
                          <a:ext uri="{FF2B5EF4-FFF2-40B4-BE49-F238E27FC236}">
                            <a16:creationId xmlns:a16="http://schemas.microsoft.com/office/drawing/2014/main" id="{CF982A77-D6AC-4875-925C-A532A98C6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5A28ABA-6C67-4EE2-A077-16F333614D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4" name="Image 103">
            <a:extLst>
              <a:ext uri="{FF2B5EF4-FFF2-40B4-BE49-F238E27FC236}">
                <a16:creationId xmlns:a16="http://schemas.microsoft.com/office/drawing/2014/main" id="{66215C4C-F251-4190-B785-4C69A17BD2ED}"/>
              </a:ext>
            </a:extLst>
          </p:cNvPr>
          <p:cNvPicPr>
            <a:picLocks/>
          </p:cNvPicPr>
          <p:nvPr/>
        </p:nvPicPr>
        <p:blipFill rotWithShape="1">
          <a:blip r:embed="rId8"/>
          <a:srcRect l="2155"/>
          <a:stretch/>
        </p:blipFill>
        <p:spPr>
          <a:xfrm>
            <a:off x="46149" y="996537"/>
            <a:ext cx="12098226" cy="5511800"/>
          </a:xfrm>
          <a:prstGeom prst="rect">
            <a:avLst/>
          </a:prstGeom>
        </p:spPr>
      </p:pic>
      <p:sp>
        <p:nvSpPr>
          <p:cNvPr id="105" name="Rectangle 104">
            <a:extLst>
              <a:ext uri="{FF2B5EF4-FFF2-40B4-BE49-F238E27FC236}">
                <a16:creationId xmlns:a16="http://schemas.microsoft.com/office/drawing/2014/main" id="{CACBE0A4-49BF-44E3-8C80-6468118A5003}"/>
              </a:ext>
            </a:extLst>
          </p:cNvPr>
          <p:cNvSpPr/>
          <p:nvPr/>
        </p:nvSpPr>
        <p:spPr>
          <a:xfrm>
            <a:off x="198108" y="1315121"/>
            <a:ext cx="5875199" cy="1964241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5C23025C-ABF2-4F91-95FF-0E90933945D8}"/>
              </a:ext>
            </a:extLst>
          </p:cNvPr>
          <p:cNvSpPr/>
          <p:nvPr/>
        </p:nvSpPr>
        <p:spPr>
          <a:xfrm>
            <a:off x="200025" y="1029935"/>
            <a:ext cx="5875199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olution du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fic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otidie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b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 vols)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660FD56-7A4F-47E5-8616-21914FCCB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cap="small" dirty="0"/>
              <a:t>Dashboard Trafic Aérien Janvier 2022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10CC8E6-A477-4C1F-9258-1E84E759FB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0C2ECF1-C101-40BA-B4EF-F194AC4BE9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3</a:t>
            </a:fld>
            <a:endParaRPr lang="fr-FR" dirty="0"/>
          </a:p>
        </p:txBody>
      </p:sp>
      <p:pic>
        <p:nvPicPr>
          <p:cNvPr id="164" name="Image 31">
            <a:extLst>
              <a:ext uri="{FF2B5EF4-FFF2-40B4-BE49-F238E27FC236}">
                <a16:creationId xmlns:a16="http://schemas.microsoft.com/office/drawing/2014/main" id="{FFB04B5B-5CAF-4185-B796-63B230BDDF04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64" name="Ellipse 63">
            <a:extLst>
              <a:ext uri="{FF2B5EF4-FFF2-40B4-BE49-F238E27FC236}">
                <a16:creationId xmlns:a16="http://schemas.microsoft.com/office/drawing/2014/main" id="{9178FCED-3A7C-426B-AA98-4D270384ACFF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1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D246083-010F-4C9B-9CD8-31978639B100}"/>
              </a:ext>
            </a:extLst>
          </p:cNvPr>
          <p:cNvSpPr/>
          <p:nvPr/>
        </p:nvSpPr>
        <p:spPr>
          <a:xfrm>
            <a:off x="6178546" y="1315119"/>
            <a:ext cx="5815346" cy="226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6FBFF67A-440C-4BF4-909A-C9FBD29357D0}"/>
              </a:ext>
            </a:extLst>
          </p:cNvPr>
          <p:cNvSpPr/>
          <p:nvPr/>
        </p:nvSpPr>
        <p:spPr>
          <a:xfrm>
            <a:off x="6178546" y="1029935"/>
            <a:ext cx="5821367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otte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diale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à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’arrêt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ar type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’avion</a:t>
            </a:r>
            <a:r>
              <a:rPr lang="en-US" sz="1400" b="1" kern="0" dirty="0">
                <a:solidFill>
                  <a:schemeClr val="bg1"/>
                </a:solidFill>
                <a:latin typeface="Calibri"/>
              </a:rPr>
              <a:t>, </a:t>
            </a:r>
            <a:r>
              <a:rPr lang="en-US" sz="1400" b="1" kern="0" dirty="0" err="1">
                <a:solidFill>
                  <a:schemeClr val="bg1"/>
                </a:solidFill>
                <a:latin typeface="Calibri"/>
              </a:rPr>
              <a:t>mensuel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33BE535-BEA1-47DF-9882-B02E4E1D9238}"/>
              </a:ext>
            </a:extLst>
          </p:cNvPr>
          <p:cNvSpPr txBox="1"/>
          <p:nvPr/>
        </p:nvSpPr>
        <p:spPr>
          <a:xfrm>
            <a:off x="5095667" y="3103530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Flight Radar 24</a:t>
            </a:r>
          </a:p>
        </p:txBody>
      </p:sp>
      <p:sp>
        <p:nvSpPr>
          <p:cNvPr id="290" name="Rectangle 289" hidden="1">
            <a:extLst>
              <a:ext uri="{FF2B5EF4-FFF2-40B4-BE49-F238E27FC236}">
                <a16:creationId xmlns:a16="http://schemas.microsoft.com/office/drawing/2014/main" id="{63663CCE-F698-4769-A5BD-BAF749BF3F4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9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3" name="ZoneTexte 252">
            <a:extLst>
              <a:ext uri="{FF2B5EF4-FFF2-40B4-BE49-F238E27FC236}">
                <a16:creationId xmlns:a16="http://schemas.microsoft.com/office/drawing/2014/main" id="{5B7BEAA7-762F-4520-BAD8-1384991C01A8}"/>
              </a:ext>
            </a:extLst>
          </p:cNvPr>
          <p:cNvSpPr txBox="1"/>
          <p:nvPr/>
        </p:nvSpPr>
        <p:spPr>
          <a:xfrm>
            <a:off x="5487539" y="6251042"/>
            <a:ext cx="936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OAG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36B65000-BE90-4DC0-B063-1E0C6DC8E64A}"/>
              </a:ext>
            </a:extLst>
          </p:cNvPr>
          <p:cNvSpPr/>
          <p:nvPr/>
        </p:nvSpPr>
        <p:spPr>
          <a:xfrm>
            <a:off x="198108" y="3753081"/>
            <a:ext cx="5875199" cy="2693279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C109BD84-4ECE-41E7-A595-53FBB9E269E4}"/>
              </a:ext>
            </a:extLst>
          </p:cNvPr>
          <p:cNvSpPr/>
          <p:nvPr/>
        </p:nvSpPr>
        <p:spPr>
          <a:xfrm>
            <a:off x="216429" y="3413418"/>
            <a:ext cx="5875199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olution du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fic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nsuel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KPK), YoY</a:t>
            </a: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B96E697-17D2-428C-89B5-1B12F9EFABA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21" name="ZoneTexte 120">
            <a:extLst>
              <a:ext uri="{FF2B5EF4-FFF2-40B4-BE49-F238E27FC236}">
                <a16:creationId xmlns:a16="http://schemas.microsoft.com/office/drawing/2014/main" id="{CF6FD9A7-F4F8-4EAA-9723-23B26D03E5D6}"/>
              </a:ext>
            </a:extLst>
          </p:cNvPr>
          <p:cNvSpPr txBox="1"/>
          <p:nvPr/>
        </p:nvSpPr>
        <p:spPr>
          <a:xfrm>
            <a:off x="5404131" y="6279362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IATA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2A61ACC-8366-4DF2-A03D-313594541598}"/>
              </a:ext>
            </a:extLst>
          </p:cNvPr>
          <p:cNvSpPr txBox="1"/>
          <p:nvPr/>
        </p:nvSpPr>
        <p:spPr>
          <a:xfrm>
            <a:off x="243920" y="3855841"/>
            <a:ext cx="29034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olution du trafic international (RPK) </a:t>
            </a:r>
            <a:r>
              <a:rPr lang="fr-FR" sz="900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Y</a:t>
            </a:r>
            <a:endParaRPr lang="fr-FR" sz="9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074C132B-7786-4707-AF69-D479087E3EAA}"/>
              </a:ext>
            </a:extLst>
          </p:cNvPr>
          <p:cNvSpPr txBox="1"/>
          <p:nvPr/>
        </p:nvSpPr>
        <p:spPr>
          <a:xfrm>
            <a:off x="3277789" y="3855842"/>
            <a:ext cx="29034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olution du trafic domestique (RPK) </a:t>
            </a:r>
            <a:r>
              <a:rPr lang="fr-FR" sz="900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Y</a:t>
            </a:r>
            <a:endParaRPr lang="fr-FR" sz="9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4D33F94D-3D8C-4351-8988-730A7BA2E2A9}"/>
              </a:ext>
            </a:extLst>
          </p:cNvPr>
          <p:cNvCxnSpPr/>
          <p:nvPr/>
        </p:nvCxnSpPr>
        <p:spPr>
          <a:xfrm flipV="1">
            <a:off x="298966" y="4082519"/>
            <a:ext cx="2736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97AE0169-AFD1-4D3E-B373-BFF698559F41}"/>
              </a:ext>
            </a:extLst>
          </p:cNvPr>
          <p:cNvCxnSpPr/>
          <p:nvPr/>
        </p:nvCxnSpPr>
        <p:spPr>
          <a:xfrm flipV="1">
            <a:off x="3329832" y="4082520"/>
            <a:ext cx="2736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FDF682FC-3E94-4A81-A97C-65F6CDA755E9}"/>
              </a:ext>
            </a:extLst>
          </p:cNvPr>
          <p:cNvSpPr/>
          <p:nvPr/>
        </p:nvSpPr>
        <p:spPr>
          <a:xfrm>
            <a:off x="6178546" y="3959540"/>
            <a:ext cx="5815346" cy="2493379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F0ADA25-8D77-452F-BF53-6BA3BD466BCB}"/>
              </a:ext>
            </a:extLst>
          </p:cNvPr>
          <p:cNvSpPr/>
          <p:nvPr/>
        </p:nvSpPr>
        <p:spPr>
          <a:xfrm>
            <a:off x="6172525" y="3654174"/>
            <a:ext cx="5821367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olution des reservations vs 2019</a:t>
            </a:r>
          </a:p>
        </p:txBody>
      </p:sp>
      <p:sp>
        <p:nvSpPr>
          <p:cNvPr id="51" name="Espace réservé du texte 19">
            <a:extLst>
              <a:ext uri="{FF2B5EF4-FFF2-40B4-BE49-F238E27FC236}">
                <a16:creationId xmlns:a16="http://schemas.microsoft.com/office/drawing/2014/main" id="{7558DECC-C0FC-4863-B850-C6533B630A75}"/>
              </a:ext>
            </a:extLst>
          </p:cNvPr>
          <p:cNvSpPr txBox="1">
            <a:spLocks/>
          </p:cNvSpPr>
          <p:nvPr/>
        </p:nvSpPr>
        <p:spPr bwMode="gray">
          <a:xfrm>
            <a:off x="6891003" y="2158175"/>
            <a:ext cx="1620000" cy="8297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3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1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dirty="0"/>
              <a:t>19%</a:t>
            </a:r>
          </a:p>
          <a:p>
            <a:pPr algn="ctr"/>
            <a:r>
              <a:rPr lang="fr-FR" sz="1100" b="0" i="1" dirty="0"/>
              <a:t>(19% en </a:t>
            </a:r>
            <a:r>
              <a:rPr lang="fr-FR" sz="1100" b="0" i="1" dirty="0" err="1"/>
              <a:t>déc</a:t>
            </a:r>
            <a:r>
              <a:rPr lang="fr-FR" sz="1100" b="0" i="1" dirty="0"/>
              <a:t>)</a:t>
            </a:r>
          </a:p>
        </p:txBody>
      </p:sp>
      <p:sp>
        <p:nvSpPr>
          <p:cNvPr id="52" name="ZoneTexte 51">
            <a:extLst>
              <a:ext uri="{FF2B5EF4-FFF2-40B4-BE49-F238E27FC236}">
                <a16:creationId xmlns:a16="http://schemas.microsoft.com/office/drawing/2014/main" id="{A96D18C2-D389-4238-B494-03B7A1AE63B3}"/>
              </a:ext>
            </a:extLst>
          </p:cNvPr>
          <p:cNvSpPr txBox="1"/>
          <p:nvPr/>
        </p:nvSpPr>
        <p:spPr>
          <a:xfrm>
            <a:off x="6236408" y="1782085"/>
            <a:ext cx="21884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de la flotte mondiale à l’arrêt</a:t>
            </a:r>
          </a:p>
        </p:txBody>
      </p:sp>
      <p:grpSp>
        <p:nvGrpSpPr>
          <p:cNvPr id="53" name="Groupe 52">
            <a:extLst>
              <a:ext uri="{FF2B5EF4-FFF2-40B4-BE49-F238E27FC236}">
                <a16:creationId xmlns:a16="http://schemas.microsoft.com/office/drawing/2014/main" id="{D90CBFDF-E04F-44EB-809F-B30FEC12D5D1}"/>
              </a:ext>
            </a:extLst>
          </p:cNvPr>
          <p:cNvGrpSpPr/>
          <p:nvPr/>
        </p:nvGrpSpPr>
        <p:grpSpPr>
          <a:xfrm>
            <a:off x="6414476" y="2205059"/>
            <a:ext cx="717345" cy="678679"/>
            <a:chOff x="6159286" y="2738536"/>
            <a:chExt cx="717345" cy="678679"/>
          </a:xfrm>
        </p:grpSpPr>
        <p:pic>
          <p:nvPicPr>
            <p:cNvPr id="54" name="Graphique 53" descr="Avion">
              <a:extLst>
                <a:ext uri="{FF2B5EF4-FFF2-40B4-BE49-F238E27FC236}">
                  <a16:creationId xmlns:a16="http://schemas.microsoft.com/office/drawing/2014/main" id="{C607B857-0C6D-4EBD-A9B1-94EEA2233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394708" y="2738536"/>
              <a:ext cx="251670" cy="251670"/>
            </a:xfrm>
            <a:prstGeom prst="rect">
              <a:avLst/>
            </a:prstGeom>
          </p:spPr>
        </p:pic>
        <p:pic>
          <p:nvPicPr>
            <p:cNvPr id="55" name="Graphique 54" descr="Avion">
              <a:extLst>
                <a:ext uri="{FF2B5EF4-FFF2-40B4-BE49-F238E27FC236}">
                  <a16:creationId xmlns:a16="http://schemas.microsoft.com/office/drawing/2014/main" id="{7C6D2B9A-30C8-42B1-8349-B5599DC74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159286" y="2945941"/>
              <a:ext cx="251670" cy="251670"/>
            </a:xfrm>
            <a:prstGeom prst="rect">
              <a:avLst/>
            </a:prstGeom>
          </p:spPr>
        </p:pic>
        <p:pic>
          <p:nvPicPr>
            <p:cNvPr id="56" name="Graphique 55" descr="Avion">
              <a:extLst>
                <a:ext uri="{FF2B5EF4-FFF2-40B4-BE49-F238E27FC236}">
                  <a16:creationId xmlns:a16="http://schemas.microsoft.com/office/drawing/2014/main" id="{D25A32D3-87CB-4CD4-B30C-7ADBCC3A0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624961" y="2945941"/>
              <a:ext cx="251670" cy="251670"/>
            </a:xfrm>
            <a:prstGeom prst="rect">
              <a:avLst/>
            </a:prstGeom>
          </p:spPr>
        </p:pic>
        <p:pic>
          <p:nvPicPr>
            <p:cNvPr id="57" name="Graphique 56" descr="Avion">
              <a:extLst>
                <a:ext uri="{FF2B5EF4-FFF2-40B4-BE49-F238E27FC236}">
                  <a16:creationId xmlns:a16="http://schemas.microsoft.com/office/drawing/2014/main" id="{9074989E-CAD5-40CD-9E60-56696AE45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394708" y="3165545"/>
              <a:ext cx="251670" cy="251670"/>
            </a:xfrm>
            <a:prstGeom prst="rect">
              <a:avLst/>
            </a:prstGeom>
          </p:spPr>
        </p:pic>
        <p:pic>
          <p:nvPicPr>
            <p:cNvPr id="58" name="Graphique 57" descr="Avion">
              <a:extLst>
                <a:ext uri="{FF2B5EF4-FFF2-40B4-BE49-F238E27FC236}">
                  <a16:creationId xmlns:a16="http://schemas.microsoft.com/office/drawing/2014/main" id="{7136E936-686F-4ABF-AF76-201A1EBEBF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624961" y="3165545"/>
              <a:ext cx="251670" cy="251670"/>
            </a:xfrm>
            <a:prstGeom prst="rect">
              <a:avLst/>
            </a:prstGeom>
          </p:spPr>
        </p:pic>
        <p:pic>
          <p:nvPicPr>
            <p:cNvPr id="59" name="Graphique 58" descr="Avion">
              <a:extLst>
                <a:ext uri="{FF2B5EF4-FFF2-40B4-BE49-F238E27FC236}">
                  <a16:creationId xmlns:a16="http://schemas.microsoft.com/office/drawing/2014/main" id="{4BB75427-6BE3-470B-8EA3-F87824DC45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159286" y="3165545"/>
              <a:ext cx="251670" cy="251670"/>
            </a:xfrm>
            <a:prstGeom prst="rect">
              <a:avLst/>
            </a:prstGeom>
          </p:spPr>
        </p:pic>
        <p:pic>
          <p:nvPicPr>
            <p:cNvPr id="60" name="Graphique 59" descr="Avion">
              <a:extLst>
                <a:ext uri="{FF2B5EF4-FFF2-40B4-BE49-F238E27FC236}">
                  <a16:creationId xmlns:a16="http://schemas.microsoft.com/office/drawing/2014/main" id="{8EB7ED84-F466-46C9-AFEC-45777D584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624961" y="2738536"/>
              <a:ext cx="251670" cy="251670"/>
            </a:xfrm>
            <a:prstGeom prst="rect">
              <a:avLst/>
            </a:prstGeom>
          </p:spPr>
        </p:pic>
        <p:pic>
          <p:nvPicPr>
            <p:cNvPr id="61" name="Graphique 60" descr="Avion">
              <a:extLst>
                <a:ext uri="{FF2B5EF4-FFF2-40B4-BE49-F238E27FC236}">
                  <a16:creationId xmlns:a16="http://schemas.microsoft.com/office/drawing/2014/main" id="{6EC3575E-DC60-4C8D-8A6F-F733D1BBF3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159286" y="2738536"/>
              <a:ext cx="251670" cy="251670"/>
            </a:xfrm>
            <a:prstGeom prst="rect">
              <a:avLst/>
            </a:prstGeom>
          </p:spPr>
        </p:pic>
        <p:pic>
          <p:nvPicPr>
            <p:cNvPr id="62" name="Graphique 61" descr="Avion">
              <a:extLst>
                <a:ext uri="{FF2B5EF4-FFF2-40B4-BE49-F238E27FC236}">
                  <a16:creationId xmlns:a16="http://schemas.microsoft.com/office/drawing/2014/main" id="{0F6F22E6-A918-44E2-878C-F5882452EC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394708" y="2945941"/>
              <a:ext cx="251670" cy="251670"/>
            </a:xfrm>
            <a:prstGeom prst="rect">
              <a:avLst/>
            </a:prstGeom>
          </p:spPr>
        </p:pic>
      </p:grpSp>
      <p:sp>
        <p:nvSpPr>
          <p:cNvPr id="63" name="ZoneTexte 62">
            <a:extLst>
              <a:ext uri="{FF2B5EF4-FFF2-40B4-BE49-F238E27FC236}">
                <a16:creationId xmlns:a16="http://schemas.microsoft.com/office/drawing/2014/main" id="{27999C65-8D3C-4BDB-9072-3F2FC0E8F4C0}"/>
              </a:ext>
            </a:extLst>
          </p:cNvPr>
          <p:cNvSpPr txBox="1"/>
          <p:nvPr/>
        </p:nvSpPr>
        <p:spPr>
          <a:xfrm>
            <a:off x="11182834" y="3440793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</a:t>
            </a:r>
            <a:r>
              <a:rPr lang="fr-FR" sz="600" dirty="0" err="1">
                <a:solidFill>
                  <a:schemeClr val="tx2"/>
                </a:solidFill>
              </a:rPr>
              <a:t>Ch</a:t>
            </a:r>
            <a:r>
              <a:rPr lang="fr-FR" sz="600" dirty="0">
                <a:solidFill>
                  <a:schemeClr val="tx2"/>
                </a:solidFill>
              </a:rPr>
              <a:t>-aviation</a:t>
            </a:r>
          </a:p>
        </p:txBody>
      </p:sp>
      <p:graphicFrame>
        <p:nvGraphicFramePr>
          <p:cNvPr id="49" name="Graphique 48">
            <a:extLst>
              <a:ext uri="{FF2B5EF4-FFF2-40B4-BE49-F238E27FC236}">
                <a16:creationId xmlns:a16="http://schemas.microsoft.com/office/drawing/2014/main" id="{D2D454C6-9B98-4844-9377-3C6191C5CD5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58348260"/>
              </p:ext>
            </p:extLst>
          </p:nvPr>
        </p:nvGraphicFramePr>
        <p:xfrm>
          <a:off x="8351182" y="1426041"/>
          <a:ext cx="3529899" cy="2032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65" name="Graphique 64">
            <a:extLst>
              <a:ext uri="{FF2B5EF4-FFF2-40B4-BE49-F238E27FC236}">
                <a16:creationId xmlns:a16="http://schemas.microsoft.com/office/drawing/2014/main" id="{C6EC8351-71E9-4D56-9F88-D86721158300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20605435"/>
              </p:ext>
            </p:extLst>
          </p:nvPr>
        </p:nvGraphicFramePr>
        <p:xfrm>
          <a:off x="317056" y="1351755"/>
          <a:ext cx="5272196" cy="1848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pSp>
        <p:nvGrpSpPr>
          <p:cNvPr id="4" name="Groupe 3">
            <a:extLst>
              <a:ext uri="{FF2B5EF4-FFF2-40B4-BE49-F238E27FC236}">
                <a16:creationId xmlns:a16="http://schemas.microsoft.com/office/drawing/2014/main" id="{33BFDF5C-8A12-499A-B8AF-8A87D54F1EB5}"/>
              </a:ext>
            </a:extLst>
          </p:cNvPr>
          <p:cNvGrpSpPr/>
          <p:nvPr/>
        </p:nvGrpSpPr>
        <p:grpSpPr>
          <a:xfrm>
            <a:off x="1203805" y="2019558"/>
            <a:ext cx="802174" cy="246221"/>
            <a:chOff x="5156865" y="1819211"/>
            <a:chExt cx="802174" cy="246221"/>
          </a:xfrm>
        </p:grpSpPr>
        <p:cxnSp>
          <p:nvCxnSpPr>
            <p:cNvPr id="37" name="Connecteur droit avec flèche 36">
              <a:extLst>
                <a:ext uri="{FF2B5EF4-FFF2-40B4-BE49-F238E27FC236}">
                  <a16:creationId xmlns:a16="http://schemas.microsoft.com/office/drawing/2014/main" id="{23C98AAC-7350-4345-BD1F-251DDF4CB59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44256" y="2005505"/>
              <a:ext cx="208458" cy="2830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37">
              <a:extLst>
                <a:ext uri="{FF2B5EF4-FFF2-40B4-BE49-F238E27FC236}">
                  <a16:creationId xmlns:a16="http://schemas.microsoft.com/office/drawing/2014/main" id="{7FED08DF-8901-4944-A004-76066CFE28D3}"/>
                </a:ext>
              </a:extLst>
            </p:cNvPr>
            <p:cNvCxnSpPr/>
            <p:nvPr/>
          </p:nvCxnSpPr>
          <p:spPr>
            <a:xfrm>
              <a:off x="5262740" y="1856045"/>
              <a:ext cx="216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F418BEA8-F2A4-42D8-AB6D-02695DACA6E8}"/>
                </a:ext>
              </a:extLst>
            </p:cNvPr>
            <p:cNvSpPr/>
            <p:nvPr/>
          </p:nvSpPr>
          <p:spPr>
            <a:xfrm>
              <a:off x="5370740" y="1822882"/>
              <a:ext cx="374425" cy="224007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accent4"/>
                </a:solidFill>
              </a:endParaRPr>
            </a:p>
          </p:txBody>
        </p:sp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id="{609127B1-8218-43B2-AEE7-793225E1D1E6}"/>
                </a:ext>
              </a:extLst>
            </p:cNvPr>
            <p:cNvSpPr txBox="1"/>
            <p:nvPr/>
          </p:nvSpPr>
          <p:spPr>
            <a:xfrm>
              <a:off x="5156865" y="1819211"/>
              <a:ext cx="80217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solidFill>
                    <a:schemeClr val="tx2"/>
                  </a:solidFill>
                </a:rPr>
                <a:t>-17%</a:t>
              </a:r>
            </a:p>
          </p:txBody>
        </p:sp>
      </p:grpSp>
      <p:pic>
        <p:nvPicPr>
          <p:cNvPr id="9" name="Image 8">
            <a:extLst>
              <a:ext uri="{FF2B5EF4-FFF2-40B4-BE49-F238E27FC236}">
                <a16:creationId xmlns:a16="http://schemas.microsoft.com/office/drawing/2014/main" id="{9EBD9094-E18E-4B60-B35C-06E2A17C5704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3395" t="3387" r="4553"/>
          <a:stretch/>
        </p:blipFill>
        <p:spPr>
          <a:xfrm>
            <a:off x="3116327" y="4196969"/>
            <a:ext cx="2866820" cy="2057606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0EBF922E-60AE-4D70-8649-089F52E68FAB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b="5699"/>
          <a:stretch/>
        </p:blipFill>
        <p:spPr>
          <a:xfrm>
            <a:off x="7357638" y="3988669"/>
            <a:ext cx="3776448" cy="240883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1179B4E3-F724-4000-965B-304D83CB2DF3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l="3722" r="2829" b="7298"/>
          <a:stretch/>
        </p:blipFill>
        <p:spPr>
          <a:xfrm>
            <a:off x="216429" y="4196969"/>
            <a:ext cx="2822783" cy="2006122"/>
          </a:xfrm>
          <a:prstGeom prst="rect">
            <a:avLst/>
          </a:prstGeom>
        </p:spPr>
      </p:pic>
      <p:sp>
        <p:nvSpPr>
          <p:cNvPr id="66" name="ZoneTexte 65">
            <a:extLst>
              <a:ext uri="{FF2B5EF4-FFF2-40B4-BE49-F238E27FC236}">
                <a16:creationId xmlns:a16="http://schemas.microsoft.com/office/drawing/2014/main" id="{FCBAFC85-9682-4C8E-9479-77FB2D72EBD7}"/>
              </a:ext>
            </a:extLst>
          </p:cNvPr>
          <p:cNvSpPr txBox="1"/>
          <p:nvPr/>
        </p:nvSpPr>
        <p:spPr>
          <a:xfrm>
            <a:off x="11376809" y="6266555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IATA</a:t>
            </a:r>
          </a:p>
        </p:txBody>
      </p:sp>
    </p:spTree>
    <p:extLst>
      <p:ext uri="{BB962C8B-B14F-4D97-AF65-F5344CB8AC3E}">
        <p14:creationId xmlns:p14="http://schemas.microsoft.com/office/powerpoint/2010/main" val="2995402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7E14FF0-0B68-4969-BEF0-799A891BC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04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0" imgW="344" imgH="344" progId="TCLayout.ActiveDocument.1">
                  <p:embed/>
                </p:oleObj>
              </mc:Choice>
              <mc:Fallback>
                <p:oleObj name="Diapositive think-cell" r:id="rId90" imgW="344" imgH="344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7E14FF0-0B68-4969-BEF0-799A891BC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0A373AB-AD61-4AED-871E-8986A038C3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28" name="Image 627">
            <a:extLst>
              <a:ext uri="{FF2B5EF4-FFF2-40B4-BE49-F238E27FC236}">
                <a16:creationId xmlns:a16="http://schemas.microsoft.com/office/drawing/2014/main" id="{28B31F95-BE17-4F95-B08B-A75F5988F9D5}"/>
              </a:ext>
            </a:extLst>
          </p:cNvPr>
          <p:cNvPicPr>
            <a:picLocks/>
          </p:cNvPicPr>
          <p:nvPr/>
        </p:nvPicPr>
        <p:blipFill rotWithShape="1">
          <a:blip r:embed="rId92"/>
          <a:srcRect l="2155"/>
          <a:stretch/>
        </p:blipFill>
        <p:spPr>
          <a:xfrm>
            <a:off x="84000" y="975360"/>
            <a:ext cx="12024000" cy="5511310"/>
          </a:xfrm>
          <a:prstGeom prst="rect">
            <a:avLst/>
          </a:prstGeom>
        </p:spPr>
      </p:pic>
      <p:sp>
        <p:nvSpPr>
          <p:cNvPr id="259" name="Rectangle 258">
            <a:extLst>
              <a:ext uri="{FF2B5EF4-FFF2-40B4-BE49-F238E27FC236}">
                <a16:creationId xmlns:a16="http://schemas.microsoft.com/office/drawing/2014/main" id="{23E859CE-D762-473B-A6A4-43916782E141}"/>
              </a:ext>
            </a:extLst>
          </p:cNvPr>
          <p:cNvSpPr/>
          <p:nvPr/>
        </p:nvSpPr>
        <p:spPr>
          <a:xfrm>
            <a:off x="6872286" y="3999379"/>
            <a:ext cx="5148264" cy="2423329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875462" y="1316564"/>
            <a:ext cx="5129213" cy="2353396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58750" y="3999380"/>
            <a:ext cx="2835275" cy="242362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891338" y="1035049"/>
            <a:ext cx="5129213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ande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/Annulations YT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00026" y="1019234"/>
            <a:ext cx="2809875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iffres-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é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637BB9-5738-4644-B55B-C7F69DDAAE70}"/>
              </a:ext>
            </a:extLst>
          </p:cNvPr>
          <p:cNvSpPr/>
          <p:nvPr/>
        </p:nvSpPr>
        <p:spPr>
          <a:xfrm>
            <a:off x="134800" y="3724391"/>
            <a:ext cx="2833688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defRPr/>
            </a:pPr>
            <a:r>
              <a:rPr lang="en-US" sz="1400" b="1" kern="0" dirty="0">
                <a:solidFill>
                  <a:schemeClr val="bg1"/>
                </a:solidFill>
                <a:latin typeface="Calibri"/>
              </a:rPr>
              <a:t>Backlog YTD</a:t>
            </a:r>
          </a:p>
        </p:txBody>
      </p:sp>
      <p:pic>
        <p:nvPicPr>
          <p:cNvPr id="288" name="Image 287">
            <a:extLst>
              <a:ext uri="{FF2B5EF4-FFF2-40B4-BE49-F238E27FC236}">
                <a16:creationId xmlns:a16="http://schemas.microsoft.com/office/drawing/2014/main" id="{E97DC373-C2F1-4407-B1E9-062788795879}"/>
              </a:ext>
            </a:extLst>
          </p:cNvPr>
          <p:cNvPicPr>
            <a:picLocks/>
          </p:cNvPicPr>
          <p:nvPr/>
        </p:nvPicPr>
        <p:blipFill>
          <a:blip r:embed="rId93"/>
          <a:stretch>
            <a:fillRect/>
          </a:stretch>
        </p:blipFill>
        <p:spPr>
          <a:xfrm>
            <a:off x="8015028" y="3226749"/>
            <a:ext cx="684213" cy="455613"/>
          </a:xfrm>
          <a:prstGeom prst="rect">
            <a:avLst/>
          </a:prstGeom>
        </p:spPr>
      </p:pic>
      <p:pic>
        <p:nvPicPr>
          <p:cNvPr id="289" name="Image 288">
            <a:extLst>
              <a:ext uri="{FF2B5EF4-FFF2-40B4-BE49-F238E27FC236}">
                <a16:creationId xmlns:a16="http://schemas.microsoft.com/office/drawing/2014/main" id="{D3A2FE86-7E4C-444A-AF3A-E5EE7E89CA36}"/>
              </a:ext>
            </a:extLst>
          </p:cNvPr>
          <p:cNvPicPr>
            <a:picLocks/>
          </p:cNvPicPr>
          <p:nvPr/>
        </p:nvPicPr>
        <p:blipFill rotWithShape="1">
          <a:blip r:embed="rId94"/>
          <a:srcRect t="63342"/>
          <a:stretch/>
        </p:blipFill>
        <p:spPr>
          <a:xfrm>
            <a:off x="10423717" y="3365997"/>
            <a:ext cx="684213" cy="166688"/>
          </a:xfrm>
          <a:prstGeom prst="rect">
            <a:avLst/>
          </a:prstGeom>
        </p:spPr>
      </p:pic>
      <p:cxnSp>
        <p:nvCxnSpPr>
          <p:cNvPr id="320" name="Connecteur droit 319">
            <a:extLst>
              <a:ext uri="{FF2B5EF4-FFF2-40B4-BE49-F238E27FC236}">
                <a16:creationId xmlns:a16="http://schemas.microsoft.com/office/drawing/2014/main" id="{F605B200-D509-4610-9158-195EB3354579}"/>
              </a:ext>
            </a:extLst>
          </p:cNvPr>
          <p:cNvCxnSpPr>
            <a:cxnSpLocks/>
          </p:cNvCxnSpPr>
          <p:nvPr/>
        </p:nvCxnSpPr>
        <p:spPr>
          <a:xfrm>
            <a:off x="9426573" y="1506451"/>
            <a:ext cx="0" cy="1798638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7" name="Titre 586">
            <a:extLst>
              <a:ext uri="{FF2B5EF4-FFF2-40B4-BE49-F238E27FC236}">
                <a16:creationId xmlns:a16="http://schemas.microsoft.com/office/drawing/2014/main" id="{7FC2D976-FF61-496E-BC30-76433C060A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cap="small" dirty="0"/>
              <a:t>Dashboard Airbus/Boeing Janvier 2022</a:t>
            </a:r>
          </a:p>
        </p:txBody>
      </p:sp>
      <p:sp>
        <p:nvSpPr>
          <p:cNvPr id="18" name="Espace réservé du pied de page 17">
            <a:extLst>
              <a:ext uri="{FF2B5EF4-FFF2-40B4-BE49-F238E27FC236}">
                <a16:creationId xmlns:a16="http://schemas.microsoft.com/office/drawing/2014/main" id="{C818D617-BDA1-4FA4-AD0B-655F504386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13034FE2-4385-4DCF-B23C-99CE479BC16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4</a:t>
            </a:fld>
            <a:endParaRPr lang="fr-FR" dirty="0"/>
          </a:p>
        </p:txBody>
      </p:sp>
      <p:pic>
        <p:nvPicPr>
          <p:cNvPr id="163" name="Image 31">
            <a:extLst>
              <a:ext uri="{FF2B5EF4-FFF2-40B4-BE49-F238E27FC236}">
                <a16:creationId xmlns:a16="http://schemas.microsoft.com/office/drawing/2014/main" id="{3BC3DAD2-8ED9-424E-A55E-E1890FE3F429}"/>
              </a:ext>
            </a:extLst>
          </p:cNvPr>
          <p:cNvPicPr>
            <a:picLocks noChangeAspect="1"/>
          </p:cNvPicPr>
          <p:nvPr/>
        </p:nvPicPr>
        <p:blipFill>
          <a:blip r:embed="rId9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138" name="Ellipse 137">
            <a:extLst>
              <a:ext uri="{FF2B5EF4-FFF2-40B4-BE49-F238E27FC236}">
                <a16:creationId xmlns:a16="http://schemas.microsoft.com/office/drawing/2014/main" id="{D7F57ED2-D42E-4509-B433-A35419661A4D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2</a:t>
            </a:r>
          </a:p>
        </p:txBody>
      </p:sp>
      <p:cxnSp>
        <p:nvCxnSpPr>
          <p:cNvPr id="236" name="Connecteur droit 235">
            <a:extLst>
              <a:ext uri="{FF2B5EF4-FFF2-40B4-BE49-F238E27FC236}">
                <a16:creationId xmlns:a16="http://schemas.microsoft.com/office/drawing/2014/main" id="{AA1FDE45-0B9D-4D01-B3C9-677FB72BB1F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404100" y="5722938"/>
            <a:ext cx="204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Connecteur droit 236">
            <a:extLst>
              <a:ext uri="{FF2B5EF4-FFF2-40B4-BE49-F238E27FC236}">
                <a16:creationId xmlns:a16="http://schemas.microsoft.com/office/drawing/2014/main" id="{7465A2B5-A087-41D9-BDCF-605FFF5D996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866063" y="4767263"/>
            <a:ext cx="204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Connecteur droit 237">
            <a:extLst>
              <a:ext uri="{FF2B5EF4-FFF2-40B4-BE49-F238E27FC236}">
                <a16:creationId xmlns:a16="http://schemas.microsoft.com/office/drawing/2014/main" id="{E9D357AF-B119-44D4-A938-72657FD66F5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328025" y="4564063"/>
            <a:ext cx="204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Connecteur droit 238">
            <a:extLst>
              <a:ext uri="{FF2B5EF4-FFF2-40B4-BE49-F238E27FC236}">
                <a16:creationId xmlns:a16="http://schemas.microsoft.com/office/drawing/2014/main" id="{13F1A2BD-C98E-43DB-8866-363DC24BF96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789988" y="4383088"/>
            <a:ext cx="2047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4" name="Chart 3">
            <a:extLst>
              <a:ext uri="{FF2B5EF4-FFF2-40B4-BE49-F238E27FC236}">
                <a16:creationId xmlns:a16="http://schemas.microsoft.com/office/drawing/2014/main" id="{28FB9154-A834-44D4-B216-6FE0D490B829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82423678"/>
              </p:ext>
            </p:extLst>
          </p:nvPr>
        </p:nvGraphicFramePr>
        <p:xfrm>
          <a:off x="6962775" y="4198938"/>
          <a:ext cx="2474913" cy="177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6"/>
          </a:graphicData>
        </a:graphic>
      </p:graphicFrame>
      <p:sp>
        <p:nvSpPr>
          <p:cNvPr id="244" name="Espace réservé du texte 2">
            <a:extLst>
              <a:ext uri="{FF2B5EF4-FFF2-40B4-BE49-F238E27FC236}">
                <a16:creationId xmlns:a16="http://schemas.microsoft.com/office/drawing/2014/main" id="{44704398-683D-48B0-AC44-89855D366DA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150100" y="5930900"/>
            <a:ext cx="250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8CC3E5A-60DC-4D01-941B-0D1EE24E4FB8}" type="datetime'''''''''''A''''''''''''''''''''''''''2''''''''''''''2''0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22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8" name="Espace réservé du texte 2">
            <a:extLst>
              <a:ext uri="{FF2B5EF4-FFF2-40B4-BE49-F238E27FC236}">
                <a16:creationId xmlns:a16="http://schemas.microsoft.com/office/drawing/2014/main" id="{3FD2B578-1CA5-4839-9017-7E3EC625671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612063" y="5930900"/>
            <a:ext cx="25082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ADBB20A-7610-4CCE-B70B-D9940AA51AC8}" type="datetime'A''''''''''''''''32''''''''''0'''' ''F''''''am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20 Fa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0" name="Espace réservé du texte 2">
            <a:extLst>
              <a:ext uri="{FF2B5EF4-FFF2-40B4-BE49-F238E27FC236}">
                <a16:creationId xmlns:a16="http://schemas.microsoft.com/office/drawing/2014/main" id="{310F3317-B6FE-436B-A317-50F2F752A60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994775" y="5930900"/>
            <a:ext cx="2571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B37910B-B3DF-4DE9-90E3-3B9CF516CD99}" type="datetime'''To''''''''''''''''''t''''''''''''''a''''''''l'">
              <a:rPr lang="fr-FR" altLang="en-US" sz="9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</a:t>
            </a:fld>
            <a:endParaRPr lang="fr-FR" sz="9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1" name="Espace réservé du texte 2">
            <a:extLst>
              <a:ext uri="{FF2B5EF4-FFF2-40B4-BE49-F238E27FC236}">
                <a16:creationId xmlns:a16="http://schemas.microsoft.com/office/drawing/2014/main" id="{24A04A89-1568-403D-97E2-65DAF015C36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074025" y="5930900"/>
            <a:ext cx="25082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F768BDB-0BDE-49E4-AC8D-36F36712D329}" type="datetime'''''''''A3''''''30 ''''F''''''a''''''''''''''m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30 Fa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3" name="Espace réservé du texte 2">
            <a:extLst>
              <a:ext uri="{FF2B5EF4-FFF2-40B4-BE49-F238E27FC236}">
                <a16:creationId xmlns:a16="http://schemas.microsoft.com/office/drawing/2014/main" id="{5FAD09DC-1BCC-466C-A83F-7F46577C368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535988" y="5930900"/>
            <a:ext cx="250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9D13CDA-7B25-4EC3-843A-692F22FEE75C}" type="datetime'''''''''''''''''''''''''''''''A3''''''''''''''5''''0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5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258" name="Connecteur droit 257">
            <a:extLst>
              <a:ext uri="{FF2B5EF4-FFF2-40B4-BE49-F238E27FC236}">
                <a16:creationId xmlns:a16="http://schemas.microsoft.com/office/drawing/2014/main" id="{E8E7019A-5327-4CE4-BFA7-3C388DC4E25E}"/>
              </a:ext>
            </a:extLst>
          </p:cNvPr>
          <p:cNvCxnSpPr>
            <a:cxnSpLocks/>
          </p:cNvCxnSpPr>
          <p:nvPr/>
        </p:nvCxnSpPr>
        <p:spPr>
          <a:xfrm>
            <a:off x="9474200" y="4297363"/>
            <a:ext cx="0" cy="1800225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Connecteur droit 293">
            <a:extLst>
              <a:ext uri="{FF2B5EF4-FFF2-40B4-BE49-F238E27FC236}">
                <a16:creationId xmlns:a16="http://schemas.microsoft.com/office/drawing/2014/main" id="{4A4D7B39-E4E5-49A1-9AFF-D7FD943668B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1034713" y="4745038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Connecteur droit 294">
            <a:extLst>
              <a:ext uri="{FF2B5EF4-FFF2-40B4-BE49-F238E27FC236}">
                <a16:creationId xmlns:a16="http://schemas.microsoft.com/office/drawing/2014/main" id="{74B4828D-8D30-402D-8676-15BCB2E86513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1404600" y="4386263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Connecteur droit 285">
            <a:extLst>
              <a:ext uri="{FF2B5EF4-FFF2-40B4-BE49-F238E27FC236}">
                <a16:creationId xmlns:a16="http://schemas.microsoft.com/office/drawing/2014/main" id="{792D639D-417A-4350-96F5-6C3B528BEBB9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9928225" y="4800600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Connecteur droit 291">
            <a:extLst>
              <a:ext uri="{FF2B5EF4-FFF2-40B4-BE49-F238E27FC236}">
                <a16:creationId xmlns:a16="http://schemas.microsoft.com/office/drawing/2014/main" id="{4EB1CD05-6D2E-4B27-BE3A-C5D18551CFB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0296525" y="4799013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Connecteur droit 292">
            <a:extLst>
              <a:ext uri="{FF2B5EF4-FFF2-40B4-BE49-F238E27FC236}">
                <a16:creationId xmlns:a16="http://schemas.microsoft.com/office/drawing/2014/main" id="{3BD8CEDC-D973-47B5-AC94-45DBAEF262DA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666413" y="4783138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01B9FB7-DE33-445F-A3AD-9CDF2638CD7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091738" y="4799013"/>
            <a:ext cx="204787" cy="1587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73" name="Chart 3">
            <a:extLst>
              <a:ext uri="{FF2B5EF4-FFF2-40B4-BE49-F238E27FC236}">
                <a16:creationId xmlns:a16="http://schemas.microsoft.com/office/drawing/2014/main" id="{B045062F-96D1-4D4A-BC6F-C45F4717D330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238215210"/>
              </p:ext>
            </p:extLst>
          </p:nvPr>
        </p:nvGraphicFramePr>
        <p:xfrm>
          <a:off x="9558338" y="4202113"/>
          <a:ext cx="2379662" cy="176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8"/>
          </a:graphicData>
        </a:graphic>
      </p:graphicFrame>
      <p:sp>
        <p:nvSpPr>
          <p:cNvPr id="352" name="Espace réservé du texte 2">
            <a:extLst>
              <a:ext uri="{FF2B5EF4-FFF2-40B4-BE49-F238E27FC236}">
                <a16:creationId xmlns:a16="http://schemas.microsoft.com/office/drawing/2014/main" id="{3457CB0F-B3D8-40D5-91D2-4F9AE7D78E8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839450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F510D96-36B3-47CD-BA56-CE5E389C282C}" type="datetime'''7''''7''''''''''''''''''7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7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2" name="Espace réservé du texte 2">
            <a:extLst>
              <a:ext uri="{FF2B5EF4-FFF2-40B4-BE49-F238E27FC236}">
                <a16:creationId xmlns:a16="http://schemas.microsoft.com/office/drawing/2014/main" id="{792B99E9-7506-47FC-9BA8-9F1C2F6839B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720263" y="5919788"/>
            <a:ext cx="2111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5549A1E-A160-490D-8D75-C9EEADA556D1}" type="datetime'''''''''''7''''''3''7'''''''''' ''''F''''''''''''''am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37 Fa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4" name="Espace réservé du texte 2">
            <a:extLst>
              <a:ext uri="{FF2B5EF4-FFF2-40B4-BE49-F238E27FC236}">
                <a16:creationId xmlns:a16="http://schemas.microsoft.com/office/drawing/2014/main" id="{4A8310BC-D557-409B-902F-54798E9EA84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858500" y="4695825"/>
            <a:ext cx="1460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03D126E-69FA-495F-B4CE-E78A4C2B6FDA}" type="datetime'''''''''''''''1''''''''''''2'''''''''''''''''''''''''''''">
              <a:rPr lang="fr-FR" altLang="en-US" sz="900" smtClean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pPr/>
              <a:t>12</a:t>
            </a:fld>
            <a:endParaRPr lang="fr-FR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1" name="Espace réservé du texte 2">
            <a:extLst>
              <a:ext uri="{FF2B5EF4-FFF2-40B4-BE49-F238E27FC236}">
                <a16:creationId xmlns:a16="http://schemas.microsoft.com/office/drawing/2014/main" id="{0E222F4E-57D0-4A60-83DA-DF2D46BDC95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518775" y="4722813"/>
            <a:ext cx="889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60E549F-E4C3-44E9-A659-38948883BCE5}" type="datetime'''''''''''''5'''''''''''''''''''''''''''''''''''''''">
              <a:rPr lang="fr-FR" altLang="en-US" sz="900" smtClean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pPr/>
              <a:t>5</a:t>
            </a:fld>
            <a:endParaRPr lang="fr-FR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3" name="Espace réservé du texte 2">
            <a:extLst>
              <a:ext uri="{FF2B5EF4-FFF2-40B4-BE49-F238E27FC236}">
                <a16:creationId xmlns:a16="http://schemas.microsoft.com/office/drawing/2014/main" id="{E8D5E44D-9F6F-4591-A128-D45FEBB91CC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148888" y="4730750"/>
            <a:ext cx="889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9BEEC25-3637-456B-B633-3087DBE82C4C}" type="datetime'''''''''''''''''''1'''''''''''''''''''''''''''">
              <a:rPr lang="fr-FR" altLang="en-US" sz="900" smtClean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pPr/>
              <a:t>1</a:t>
            </a:fld>
            <a:endParaRPr lang="fr-FR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37" name="Espace réservé du texte 2">
            <a:extLst>
              <a:ext uri="{FF2B5EF4-FFF2-40B4-BE49-F238E27FC236}">
                <a16:creationId xmlns:a16="http://schemas.microsoft.com/office/drawing/2014/main" id="{E17B4A14-0DC6-4748-9AB0-76BA63D4383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0101263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D29A122-4AAF-4594-95F5-AB5ECEB04E21}" type="datetime'''''''7''''''''4''''''''''7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4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0" name="Espace réservé du texte 2">
            <a:extLst>
              <a:ext uri="{FF2B5EF4-FFF2-40B4-BE49-F238E27FC236}">
                <a16:creationId xmlns:a16="http://schemas.microsoft.com/office/drawing/2014/main" id="{7C573944-9D35-4E24-908D-AB871EB87F6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471150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14260C3-ABD4-4CF2-8F9C-59671F68DF34}" type="datetime'76''''''''''''''''''''''''''''''''''''''''7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6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6" name="Espace réservé du texte 2">
            <a:extLst>
              <a:ext uri="{FF2B5EF4-FFF2-40B4-BE49-F238E27FC236}">
                <a16:creationId xmlns:a16="http://schemas.microsoft.com/office/drawing/2014/main" id="{D8C455AB-39E6-4CB4-BA75-E5C956AA5BD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209338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C81375A-640B-41AA-B0DF-85DBB68350D6}" type="datetime'''''''''''''''''''''''''7''8''7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8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2" name="Espace réservé du texte 2">
            <a:extLst>
              <a:ext uri="{FF2B5EF4-FFF2-40B4-BE49-F238E27FC236}">
                <a16:creationId xmlns:a16="http://schemas.microsoft.com/office/drawing/2014/main" id="{F0D1334D-247F-479D-841F-3855BCAF0A4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541125" y="5919788"/>
            <a:ext cx="2571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451FC48-7EE8-4068-9B86-D7AB7D743A04}" type="datetime'Tot''''''''a''''''''''l'''''''">
              <a:rPr lang="fr-FR" altLang="en-US" sz="9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</a:t>
            </a:fld>
            <a:endParaRPr lang="fr-FR" sz="9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6722C45A-27DD-4C98-B534-7A0593FA8238}"/>
              </a:ext>
            </a:extLst>
          </p:cNvPr>
          <p:cNvSpPr/>
          <p:nvPr/>
        </p:nvSpPr>
        <p:spPr>
          <a:xfrm>
            <a:off x="3074988" y="1300137"/>
            <a:ext cx="3743323" cy="51323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38454F27-009D-49D5-824E-8B8829526155}"/>
              </a:ext>
            </a:extLst>
          </p:cNvPr>
          <p:cNvSpPr/>
          <p:nvPr/>
        </p:nvSpPr>
        <p:spPr>
          <a:xfrm>
            <a:off x="3086227" y="1028700"/>
            <a:ext cx="3751136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Livraisons</a:t>
            </a:r>
          </a:p>
        </p:txBody>
      </p:sp>
      <p:graphicFrame>
        <p:nvGraphicFramePr>
          <p:cNvPr id="283" name="Chart 3">
            <a:extLst>
              <a:ext uri="{FF2B5EF4-FFF2-40B4-BE49-F238E27FC236}">
                <a16:creationId xmlns:a16="http://schemas.microsoft.com/office/drawing/2014/main" id="{42BACAFC-8966-4E6B-8C89-47F15287A457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655573895"/>
              </p:ext>
            </p:extLst>
          </p:nvPr>
        </p:nvGraphicFramePr>
        <p:xfrm>
          <a:off x="3060700" y="1665288"/>
          <a:ext cx="3656013" cy="1793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9"/>
          </a:graphicData>
        </a:graphic>
      </p:graphicFrame>
      <p:sp useBgFill="1">
        <p:nvSpPr>
          <p:cNvPr id="172" name="Espace réservé du texte 2">
            <a:extLst>
              <a:ext uri="{FF2B5EF4-FFF2-40B4-BE49-F238E27FC236}">
                <a16:creationId xmlns:a16="http://schemas.microsoft.com/office/drawing/2014/main" id="{D6213BE2-F83F-42F2-AEF3-1C7E0C020E0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164013" y="2459039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B45BE82A-5BFB-4F77-AB08-E155CDFAF4A1}" type="datetime'''''''''''''''''''''''''''''4''''''''''''''''''''''''''''5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171" name="Espace réservé du texte 2">
            <a:extLst>
              <a:ext uri="{FF2B5EF4-FFF2-40B4-BE49-F238E27FC236}">
                <a16:creationId xmlns:a16="http://schemas.microsoft.com/office/drawing/2014/main" id="{243149C3-F9D2-4D9A-B60A-073600B15D7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467100" y="2843214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D031586-7E38-4889-B3B9-027827710A4F}" type="datetime'''''''''2''''''''''''''''''''''''1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01" name="Espace réservé du texte 2">
            <a:extLst>
              <a:ext uri="{FF2B5EF4-FFF2-40B4-BE49-F238E27FC236}">
                <a16:creationId xmlns:a16="http://schemas.microsoft.com/office/drawing/2014/main" id="{E64A26F2-ADE2-4485-B231-2EC15796C5C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964113" y="2425701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E289922-5EC5-4288-9BDB-A3541DEE4D9C}" type="datetime'''''''''''''4''''''''''''''''7''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4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3" name="Espace réservé du texte 2">
            <a:extLst>
              <a:ext uri="{FF2B5EF4-FFF2-40B4-BE49-F238E27FC236}">
                <a16:creationId xmlns:a16="http://schemas.microsoft.com/office/drawing/2014/main" id="{E822A056-89C3-4153-B409-05DC6455FEB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673475" y="3406776"/>
            <a:ext cx="65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5B41864-0653-47B1-AD1C-964F832F6A1A}" type="datetime'''''''''''''''''''''F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F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00" name="Espace réservé du texte 2">
            <a:extLst>
              <a:ext uri="{FF2B5EF4-FFF2-40B4-BE49-F238E27FC236}">
                <a16:creationId xmlns:a16="http://schemas.microsoft.com/office/drawing/2014/main" id="{F923AE85-757B-4385-B523-F3EC007ED84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430713" y="2378076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25D07CA-67B3-41E7-AA9F-A81D21BDED22}" type="datetime'''''''''''''''''''5''''''''''0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1" name="Espace réservé du texte 2">
            <a:extLst>
              <a:ext uri="{FF2B5EF4-FFF2-40B4-BE49-F238E27FC236}">
                <a16:creationId xmlns:a16="http://schemas.microsoft.com/office/drawing/2014/main" id="{9DAB1727-85DE-4C88-870C-B0887B66B28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414713" y="3406776"/>
            <a:ext cx="49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6689242-13FE-4641-92AD-E049A34CC6D3}" type="datetime'''''''''''''''''''''''''''''''''''''''J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15" name="Espace réservé du texte 2">
            <a:extLst>
              <a:ext uri="{FF2B5EF4-FFF2-40B4-BE49-F238E27FC236}">
                <a16:creationId xmlns:a16="http://schemas.microsoft.com/office/drawing/2014/main" id="{5647C691-D624-4141-AEFB-6F1A27A1C37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762625" y="2603501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DF75C02-D80B-461E-9B5E-23663FF574EF}" type="datetime'''''''''3''''6''''''''''''''''''''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9" name="Espace réservé du texte 2">
            <a:extLst>
              <a:ext uri="{FF2B5EF4-FFF2-40B4-BE49-F238E27FC236}">
                <a16:creationId xmlns:a16="http://schemas.microsoft.com/office/drawing/2014/main" id="{FE2AF8E1-021B-4925-A50C-61D6B9784F0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916363" y="3406776"/>
            <a:ext cx="111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6EF72EB-0F97-4B16-B4C3-9C1926045810}" type="datetime'''''''''''''''''''''''''''''''''M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25" name="Espace réservé du texte 2">
            <a:extLst>
              <a:ext uri="{FF2B5EF4-FFF2-40B4-BE49-F238E27FC236}">
                <a16:creationId xmlns:a16="http://schemas.microsoft.com/office/drawing/2014/main" id="{7C69B050-26D8-48A8-8232-9F11ABE056B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632200" y="2667000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F23178E-915C-44A6-BF2D-3123231C55A8}" type="datetime'''''3''''''''''''''''''''''''''''''''''''''''2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9" name="Espace réservé du texte 2">
            <a:extLst>
              <a:ext uri="{FF2B5EF4-FFF2-40B4-BE49-F238E27FC236}">
                <a16:creationId xmlns:a16="http://schemas.microsoft.com/office/drawing/2014/main" id="{ADCB16C4-8A35-48D5-966E-42597DE13F0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791200" y="3406776"/>
            <a:ext cx="88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763E249-07C1-472F-9816-6A0AFBF338DD}" type="datetime'''''''''''''''''''''''''''''''''''O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O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1" name="Espace réservé du texte 2">
            <a:extLst>
              <a:ext uri="{FF2B5EF4-FFF2-40B4-BE49-F238E27FC236}">
                <a16:creationId xmlns:a16="http://schemas.microsoft.com/office/drawing/2014/main" id="{5CDAFCAA-C9AD-40EF-A66C-9DC47B61C5F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197350" y="3406776"/>
            <a:ext cx="793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47325B4-CA28-464E-811A-5AA5F780708C}" type="datetime'A''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2" name="Espace réservé du texte 2">
            <a:extLst>
              <a:ext uri="{FF2B5EF4-FFF2-40B4-BE49-F238E27FC236}">
                <a16:creationId xmlns:a16="http://schemas.microsoft.com/office/drawing/2014/main" id="{E44FA3F9-BBC5-4BB8-A896-1E8F4522B495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448175" y="3406776"/>
            <a:ext cx="111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42B66BD-5F4E-49D1-B059-125E11F5EC1E}" type="datetime'''''''''''''''''''''''''''''''M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3" name="Espace réservé du texte 2">
            <a:extLst>
              <a:ext uri="{FF2B5EF4-FFF2-40B4-BE49-F238E27FC236}">
                <a16:creationId xmlns:a16="http://schemas.microsoft.com/office/drawing/2014/main" id="{9E5D728D-6F0F-421D-B7DC-1A1BB71BA9D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746625" y="3406776"/>
            <a:ext cx="49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BC7D718-0C87-4623-A1EF-D683C5BE9E27}" type="datetime'''''''''''''''''''''''''''''''''''''''J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4" name="Espace réservé du texte 2">
            <a:extLst>
              <a:ext uri="{FF2B5EF4-FFF2-40B4-BE49-F238E27FC236}">
                <a16:creationId xmlns:a16="http://schemas.microsoft.com/office/drawing/2014/main" id="{E992ED24-1CD8-4CA9-BF0E-6DA59771652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013325" y="3406776"/>
            <a:ext cx="49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8CA049D-D8CC-411B-BC12-7C82CE0C1986}" type="datetime'''''''J''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2" name="Espace réservé du texte 2">
            <a:extLst>
              <a:ext uri="{FF2B5EF4-FFF2-40B4-BE49-F238E27FC236}">
                <a16:creationId xmlns:a16="http://schemas.microsoft.com/office/drawing/2014/main" id="{C29A3822-0DA3-4B63-A3A7-098F85EB0AC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610350" y="3406776"/>
            <a:ext cx="49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1082455-12D1-4C61-BBE5-E3F28776E505}" type="datetime'''''J''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5" name="Espace réservé du texte 2">
            <a:extLst>
              <a:ext uri="{FF2B5EF4-FFF2-40B4-BE49-F238E27FC236}">
                <a16:creationId xmlns:a16="http://schemas.microsoft.com/office/drawing/2014/main" id="{8018FAA8-7B21-428E-94E6-184A6D0C2BA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262563" y="3406776"/>
            <a:ext cx="793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D4DBCB7-8481-4CC6-A026-3F510F96B8C7}" type="datetime'''''''''''''''''''''''''''''''A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6" name="Espace réservé du texte 2">
            <a:extLst>
              <a:ext uri="{FF2B5EF4-FFF2-40B4-BE49-F238E27FC236}">
                <a16:creationId xmlns:a16="http://schemas.microsoft.com/office/drawing/2014/main" id="{B184CD83-843D-4E16-A0A9-F56E75F1C37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537200" y="3406776"/>
            <a:ext cx="65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EE3B42B-A522-4499-9016-4F840651F1AF}" type="datetime'''''''''''''''''''''''''''''S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S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0" name="Espace réservé du texte 2">
            <a:extLst>
              <a:ext uri="{FF2B5EF4-FFF2-40B4-BE49-F238E27FC236}">
                <a16:creationId xmlns:a16="http://schemas.microsoft.com/office/drawing/2014/main" id="{BD818887-4A6F-45E5-BE13-9D37F6B75E4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059488" y="3406776"/>
            <a:ext cx="85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97C1F95-4C1A-46BD-89B2-EEE109F471DB}" type="datetime'''''''''''''''''''''''''''''N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N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16" name="Espace réservé du texte 2">
            <a:extLst>
              <a:ext uri="{FF2B5EF4-FFF2-40B4-BE49-F238E27FC236}">
                <a16:creationId xmlns:a16="http://schemas.microsoft.com/office/drawing/2014/main" id="{290CAD6D-F4E4-4236-9800-CF0B1F36722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029325" y="2249489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54C2965-0363-40A9-8987-AEACBB34280A}" type="datetime'5''''''''''''''''''''''''''''''''''''''''''''''''''''''''8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58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1" name="Espace réservé du texte 2">
            <a:extLst>
              <a:ext uri="{FF2B5EF4-FFF2-40B4-BE49-F238E27FC236}">
                <a16:creationId xmlns:a16="http://schemas.microsoft.com/office/drawing/2014/main" id="{801AC9E9-1D92-49E3-A258-DC7AE554BC94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326188" y="3406776"/>
            <a:ext cx="82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B9F341C-2A18-4263-ABC0-E71AC4A8C815}" type="datetime'''''''''''D''''''''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D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17" name="Espace réservé du texte 2">
            <a:extLst>
              <a:ext uri="{FF2B5EF4-FFF2-40B4-BE49-F238E27FC236}">
                <a16:creationId xmlns:a16="http://schemas.microsoft.com/office/drawing/2014/main" id="{72993A50-08E0-4CA7-9DF7-BB2AB7640F9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6561138" y="2698751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BDD265D-0AD0-48A1-B376-A59C63D031AF}" type="datetime'''''''''''''3''''''''''''''''''0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D49100A0-C151-4CA3-A7BC-FD2749A72A3C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>
            <a:off x="5637213" y="1465263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ED80DA2B-47C8-47B1-AFB7-5FC763270831}"/>
              </a:ext>
            </a:extLst>
          </p:cNvPr>
          <p:cNvCxnSpPr/>
          <p:nvPr>
            <p:custDataLst>
              <p:tags r:id="rId53"/>
            </p:custDataLst>
          </p:nvPr>
        </p:nvCxnSpPr>
        <p:spPr bwMode="gray">
          <a:xfrm>
            <a:off x="4564063" y="1465263"/>
            <a:ext cx="34290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6F679206-3DC2-4012-8017-4B807F48499C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4567238" y="1652588"/>
            <a:ext cx="336550" cy="0"/>
          </a:xfrm>
          <a:prstGeom prst="line">
            <a:avLst/>
          </a:prstGeom>
          <a:ln w="3175" cap="rnd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F5F2A09A-D365-4B86-BDF7-F29A39758932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>
            <a:off x="5640388" y="1652588"/>
            <a:ext cx="336550" cy="0"/>
          </a:xfrm>
          <a:prstGeom prst="line">
            <a:avLst/>
          </a:prstGeom>
          <a:ln w="3175" cap="rnd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0" name="Espace réservé du texte 2">
            <a:extLst>
              <a:ext uri="{FF2B5EF4-FFF2-40B4-BE49-F238E27FC236}">
                <a16:creationId xmlns:a16="http://schemas.microsoft.com/office/drawing/2014/main" id="{F5A2143A-6566-4A28-962A-36C5BC69439B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4967288" y="1401763"/>
            <a:ext cx="558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3304343D-11BF-453B-8D21-1D9D6CB01C36}" type="datetime'T''otal ''''''''Ai''''''''''''r''b''''''''us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 Airbus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2" name="Espace réservé du texte 2">
            <a:extLst>
              <a:ext uri="{FF2B5EF4-FFF2-40B4-BE49-F238E27FC236}">
                <a16:creationId xmlns:a16="http://schemas.microsoft.com/office/drawing/2014/main" id="{9F264F68-D439-43F3-A08D-DC68A263720D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4967288" y="1589088"/>
            <a:ext cx="482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2E567860-90C8-40E9-A0AA-A38853B0971B}" type="datetime'''d''o''''''''''''''''''''''n''t ''''A''32''''0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A32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1" name="Espace réservé du texte 2">
            <a:extLst>
              <a:ext uri="{FF2B5EF4-FFF2-40B4-BE49-F238E27FC236}">
                <a16:creationId xmlns:a16="http://schemas.microsoft.com/office/drawing/2014/main" id="{ACEBC4E5-6B0C-4744-BF37-FAFC6AC237B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040438" y="1401763"/>
            <a:ext cx="482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A39CBA89-4B47-4C5E-A30D-6B5AC68E8AF4}" type="datetime'''''''''''d''''''''''''o''''nt'' ''''''A''''''3''''''''3''0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A33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9" name="Espace réservé du texte 2">
            <a:extLst>
              <a:ext uri="{FF2B5EF4-FFF2-40B4-BE49-F238E27FC236}">
                <a16:creationId xmlns:a16="http://schemas.microsoft.com/office/drawing/2014/main" id="{B01DB2A9-A92F-4586-831D-33B5896BCA5C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6040438" y="1589088"/>
            <a:ext cx="482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A568E8AD-E0EC-4AC4-9C6C-92B238E94D20}" type="datetime'd''''''''o''''''''nt'' A''''3''''''50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A35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313" name="Chart 3">
            <a:extLst>
              <a:ext uri="{FF2B5EF4-FFF2-40B4-BE49-F238E27FC236}">
                <a16:creationId xmlns:a16="http://schemas.microsoft.com/office/drawing/2014/main" id="{321D9E6D-70F6-43F6-B61D-84DBFA4FCB23}"/>
              </a:ext>
            </a:extLst>
          </p:cNvPr>
          <p:cNvGraphicFramePr/>
          <p:nvPr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2260969714"/>
              </p:ext>
            </p:extLst>
          </p:nvPr>
        </p:nvGraphicFramePr>
        <p:xfrm>
          <a:off x="3117850" y="3959225"/>
          <a:ext cx="3619500" cy="2003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sp>
        <p:nvSpPr>
          <p:cNvPr id="285" name="Espace réservé du texte 2">
            <a:extLst>
              <a:ext uri="{FF2B5EF4-FFF2-40B4-BE49-F238E27FC236}">
                <a16:creationId xmlns:a16="http://schemas.microsoft.com/office/drawing/2014/main" id="{4FBFF8CD-1F13-4A0E-AEA3-0B14C0BB0D03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414713" y="5910264"/>
            <a:ext cx="49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E70EDE6-9A93-432D-B516-8CC9DB6A8BA8}" type="datetime'''''''''''''''''''''J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7" name="Espace réservé du texte 2">
            <a:extLst>
              <a:ext uri="{FF2B5EF4-FFF2-40B4-BE49-F238E27FC236}">
                <a16:creationId xmlns:a16="http://schemas.microsoft.com/office/drawing/2014/main" id="{75F0082D-E9BB-4073-932E-E9ECA1CD6BF2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4746625" y="5910264"/>
            <a:ext cx="49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EF6CCE3-6FE2-42C5-8F0C-CACA3A6603F8}" type="datetime'''''''''''''''''''''''''J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7" name="Espace réservé du texte 2">
            <a:extLst>
              <a:ext uri="{FF2B5EF4-FFF2-40B4-BE49-F238E27FC236}">
                <a16:creationId xmlns:a16="http://schemas.microsoft.com/office/drawing/2014/main" id="{78E3F856-CF8D-49A6-AFBD-174771AD6AA5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3673475" y="5910264"/>
            <a:ext cx="65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80C5A7D-D168-4E85-AE46-EC0778909234}" type="datetime'''''''''''''''''''''''''''''''''F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F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0" name="Espace réservé du texte 2">
            <a:extLst>
              <a:ext uri="{FF2B5EF4-FFF2-40B4-BE49-F238E27FC236}">
                <a16:creationId xmlns:a16="http://schemas.microsoft.com/office/drawing/2014/main" id="{9C00030C-7042-43CA-A152-D703539E535B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916363" y="5910264"/>
            <a:ext cx="111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13AADE0-35AF-49A9-8214-59802FE14EF0}" type="datetime'''''''''''''''''''''''''M''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1" name="Espace réservé du texte 2">
            <a:extLst>
              <a:ext uri="{FF2B5EF4-FFF2-40B4-BE49-F238E27FC236}">
                <a16:creationId xmlns:a16="http://schemas.microsoft.com/office/drawing/2014/main" id="{A7AC68EB-12FC-4FF7-90A9-14590001DDC5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4197350" y="5910264"/>
            <a:ext cx="793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24FA7A3-3EFE-4A38-85CC-4D1A7C4972B6}" type="datetime'''''''A''''''''''''''''''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32" name="Espace réservé du texte 2">
            <a:extLst>
              <a:ext uri="{FF2B5EF4-FFF2-40B4-BE49-F238E27FC236}">
                <a16:creationId xmlns:a16="http://schemas.microsoft.com/office/drawing/2014/main" id="{ADB348D0-7624-433F-B531-E77AAD87473B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4430713" y="5041901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B1B6EE9-610B-4D43-967E-DB43F4387703}" type="datetime'''''''''''''''''''''''''''''''''''''''''''''''''''1''''7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196" name="Espace réservé du texte 2">
            <a:extLst>
              <a:ext uri="{FF2B5EF4-FFF2-40B4-BE49-F238E27FC236}">
                <a16:creationId xmlns:a16="http://schemas.microsoft.com/office/drawing/2014/main" id="{84F31653-A97B-4861-9302-AAF39B6BE33B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164013" y="5041900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DE1E8CC-820A-462A-9FD0-9F9867054544}" type="datetime'''''''''''''''''''''''''''''1''''''7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6" name="Espace réservé du texte 2">
            <a:extLst>
              <a:ext uri="{FF2B5EF4-FFF2-40B4-BE49-F238E27FC236}">
                <a16:creationId xmlns:a16="http://schemas.microsoft.com/office/drawing/2014/main" id="{4127FB0A-700F-416E-9931-FE0A7156891F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4448175" y="5910264"/>
            <a:ext cx="111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343E0A6-F8F9-42A0-B96B-222F5B548D82}" type="datetime'''''''''''M''''''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46" name="Espace réservé du texte 2">
            <a:extLst>
              <a:ext uri="{FF2B5EF4-FFF2-40B4-BE49-F238E27FC236}">
                <a16:creationId xmlns:a16="http://schemas.microsoft.com/office/drawing/2014/main" id="{5480C29B-7193-449F-A0FE-8AAB28454918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964113" y="4624389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07D79CB-8CFF-414B-9061-5A651524D96A}" type="datetime'2''''''''''''''''''''''''''''''''''8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5" name="Espace réservé du texte 2">
            <a:extLst>
              <a:ext uri="{FF2B5EF4-FFF2-40B4-BE49-F238E27FC236}">
                <a16:creationId xmlns:a16="http://schemas.microsoft.com/office/drawing/2014/main" id="{72423AB5-0EFE-4A23-B449-89AB17F27D0F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5013325" y="5910264"/>
            <a:ext cx="49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F543F9C-BE1E-4496-B8AF-12E86A42F438}" type="datetime'''''''''''''''''J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03" name="Espace réservé du texte 2">
            <a:extLst>
              <a:ext uri="{FF2B5EF4-FFF2-40B4-BE49-F238E27FC236}">
                <a16:creationId xmlns:a16="http://schemas.microsoft.com/office/drawing/2014/main" id="{EE53142E-3EDC-4077-92D1-24CB8C675BAF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229225" y="4851401"/>
            <a:ext cx="14605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4374A4F-43BA-4AAD-8AE1-80C957D29A5D}" type="datetime'2''''''''''''''2''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6" name="Espace réservé du texte 2">
            <a:extLst>
              <a:ext uri="{FF2B5EF4-FFF2-40B4-BE49-F238E27FC236}">
                <a16:creationId xmlns:a16="http://schemas.microsoft.com/office/drawing/2014/main" id="{F9E298DC-FB44-4989-B99C-BFA5496F4B6A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262563" y="5910264"/>
            <a:ext cx="793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94F79C2-847D-4E8E-99A3-0976C1B25B3E}" type="datetime'''''''''''''''A''''''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8" name="Espace réservé du texte 2">
            <a:extLst>
              <a:ext uri="{FF2B5EF4-FFF2-40B4-BE49-F238E27FC236}">
                <a16:creationId xmlns:a16="http://schemas.microsoft.com/office/drawing/2014/main" id="{036C4584-D6DE-4F5A-830B-4A75D9C0A74B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5537200" y="5910264"/>
            <a:ext cx="65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53598C4-B64A-40F2-81EA-43D625392807}" type="datetime'''''''''''''''''''''''''''''''''''''''''''''S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S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9" name="Espace réservé du texte 2">
            <a:extLst>
              <a:ext uri="{FF2B5EF4-FFF2-40B4-BE49-F238E27FC236}">
                <a16:creationId xmlns:a16="http://schemas.microsoft.com/office/drawing/2014/main" id="{9C94DB25-19A6-4D8E-A20F-D9BC82B07C4F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5791200" y="5910264"/>
            <a:ext cx="88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4AA41FD-9BEC-417C-8721-55C2E8F38A02}" type="datetime'''''''''''''''''''''''''''''''''O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O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0" name="Espace réservé du texte 2">
            <a:extLst>
              <a:ext uri="{FF2B5EF4-FFF2-40B4-BE49-F238E27FC236}">
                <a16:creationId xmlns:a16="http://schemas.microsoft.com/office/drawing/2014/main" id="{757A8F63-F070-4348-BF12-B4B44925B988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6059488" y="5910264"/>
            <a:ext cx="85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420CE1E-C805-4C01-856D-BEAE134954DD}" type="datetime'N''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N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1" name="Espace réservé du texte 2">
            <a:extLst>
              <a:ext uri="{FF2B5EF4-FFF2-40B4-BE49-F238E27FC236}">
                <a16:creationId xmlns:a16="http://schemas.microsoft.com/office/drawing/2014/main" id="{5BE3D011-9291-4D2B-A39F-EAC4ED0AE2AD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6326188" y="5910264"/>
            <a:ext cx="82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E5D2725-7D29-4EAE-83BE-88D62AFE07EF}" type="datetime'''''D''''''''''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D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2" name="Espace réservé du texte 2">
            <a:extLst>
              <a:ext uri="{FF2B5EF4-FFF2-40B4-BE49-F238E27FC236}">
                <a16:creationId xmlns:a16="http://schemas.microsoft.com/office/drawing/2014/main" id="{366A2090-8D9C-47F9-AEE9-46AABFD42368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6610350" y="5910264"/>
            <a:ext cx="49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2E36F72-C960-47B7-8C97-7603C1172210}" type="datetime'''''''''''''''''''''''''''''''''''''''''''''''''''''''J'">
              <a:rPr lang="fr-FR" altLang="en-US" sz="900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11B8B09D-36B8-4ACE-8D68-500FE4CE1F92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4857750" y="3951288"/>
            <a:ext cx="34290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1AA9206-C201-4B98-9269-0A817B3170CA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4860925" y="4138613"/>
            <a:ext cx="336550" cy="0"/>
          </a:xfrm>
          <a:prstGeom prst="line">
            <a:avLst/>
          </a:prstGeom>
          <a:ln w="3175" cap="rnd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8B3CAAB4-9345-46D6-90B7-F1DFD5C4CE33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5953125" y="3951288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648A47E9-1630-478E-B25C-4F567BC60775}"/>
              </a:ext>
            </a:extLst>
          </p:cNvPr>
          <p:cNvCxnSpPr/>
          <p:nvPr>
            <p:custDataLst>
              <p:tags r:id="rId81"/>
            </p:custDataLst>
          </p:nvPr>
        </p:nvCxnSpPr>
        <p:spPr bwMode="gray">
          <a:xfrm>
            <a:off x="5956300" y="4138613"/>
            <a:ext cx="336550" cy="0"/>
          </a:xfrm>
          <a:prstGeom prst="line">
            <a:avLst/>
          </a:prstGeom>
          <a:ln w="3175" cap="rnd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9" name="Espace réservé du texte 2">
            <a:extLst>
              <a:ext uri="{FF2B5EF4-FFF2-40B4-BE49-F238E27FC236}">
                <a16:creationId xmlns:a16="http://schemas.microsoft.com/office/drawing/2014/main" id="{1237313B-74C6-4A9C-BE55-54FA251AAA46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5260975" y="3887788"/>
            <a:ext cx="5810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0AB56A53-E57F-4300-AA50-9916C1CA6EB5}" type="datetime'''Tot''''''a''l'' B''o''''''e''''''in''g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 Boeing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0" name="Espace réservé du texte 2">
            <a:extLst>
              <a:ext uri="{FF2B5EF4-FFF2-40B4-BE49-F238E27FC236}">
                <a16:creationId xmlns:a16="http://schemas.microsoft.com/office/drawing/2014/main" id="{D9357BDD-CA71-4441-881F-B5695BCE28FB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5260975" y="4075113"/>
            <a:ext cx="415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75EE1A5F-EC66-495A-881D-7071FAC82F92}" type="datetime'''''d''''''''''''''''''''o''''''''''''''nt'' 7''''3''''7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73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2" name="Espace réservé du texte 2">
            <a:extLst>
              <a:ext uri="{FF2B5EF4-FFF2-40B4-BE49-F238E27FC236}">
                <a16:creationId xmlns:a16="http://schemas.microsoft.com/office/drawing/2014/main" id="{CFF557F7-830D-4248-9720-030560BFA261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6356350" y="3887788"/>
            <a:ext cx="415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53D33910-9364-4484-9AD3-D6440108B366}" type="datetime'''''''''''''''''d''''on''''t ''''''''7''''7''''''''''7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77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1" name="Espace réservé du texte 2">
            <a:extLst>
              <a:ext uri="{FF2B5EF4-FFF2-40B4-BE49-F238E27FC236}">
                <a16:creationId xmlns:a16="http://schemas.microsoft.com/office/drawing/2014/main" id="{124915EF-63E7-40CB-B698-47D47CF3DCCE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6356350" y="4075113"/>
            <a:ext cx="415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83B57022-A7E4-4B91-89A7-EB400BD179F2}" type="datetime'''''d''''''o''''''''nt'''' ''''''''''''7''8''''''''''7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78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224" name="Groupe 223">
            <a:extLst>
              <a:ext uri="{FF2B5EF4-FFF2-40B4-BE49-F238E27FC236}">
                <a16:creationId xmlns:a16="http://schemas.microsoft.com/office/drawing/2014/main" id="{E0E45818-B40E-4631-B714-2C9F181FC426}"/>
              </a:ext>
            </a:extLst>
          </p:cNvPr>
          <p:cNvGrpSpPr>
            <a:grpSpLocks/>
          </p:cNvGrpSpPr>
          <p:nvPr/>
        </p:nvGrpSpPr>
        <p:grpSpPr>
          <a:xfrm>
            <a:off x="3381031" y="3587751"/>
            <a:ext cx="3060002" cy="231775"/>
            <a:chOff x="666491" y="3568700"/>
            <a:chExt cx="3060518" cy="231775"/>
          </a:xfrm>
        </p:grpSpPr>
        <p:sp>
          <p:nvSpPr>
            <p:cNvPr id="233" name="ZoneTexte 232">
              <a:extLst>
                <a:ext uri="{FF2B5EF4-FFF2-40B4-BE49-F238E27FC236}">
                  <a16:creationId xmlns:a16="http://schemas.microsoft.com/office/drawing/2014/main" id="{724B377D-C72C-41E1-87C6-B1331121494C}"/>
                </a:ext>
              </a:extLst>
            </p:cNvPr>
            <p:cNvSpPr txBox="1"/>
            <p:nvPr/>
          </p:nvSpPr>
          <p:spPr>
            <a:xfrm>
              <a:off x="1806345" y="3568700"/>
              <a:ext cx="777698" cy="23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21</a:t>
              </a:r>
            </a:p>
          </p:txBody>
        </p:sp>
        <p:cxnSp>
          <p:nvCxnSpPr>
            <p:cNvPr id="234" name="Connecteur droit 233">
              <a:extLst>
                <a:ext uri="{FF2B5EF4-FFF2-40B4-BE49-F238E27FC236}">
                  <a16:creationId xmlns:a16="http://schemas.microsoft.com/office/drawing/2014/main" id="{FC4E85DB-0484-4A71-87F1-67F87994B7D1}"/>
                </a:ext>
              </a:extLst>
            </p:cNvPr>
            <p:cNvCxnSpPr>
              <a:cxnSpLocks/>
            </p:cNvCxnSpPr>
            <p:nvPr/>
          </p:nvCxnSpPr>
          <p:spPr>
            <a:xfrm>
              <a:off x="666491" y="3579099"/>
              <a:ext cx="306051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6" name="Image 225">
            <a:extLst>
              <a:ext uri="{FF2B5EF4-FFF2-40B4-BE49-F238E27FC236}">
                <a16:creationId xmlns:a16="http://schemas.microsoft.com/office/drawing/2014/main" id="{E5904904-D88F-4CF1-9C77-B7E09E7CCC4B}"/>
              </a:ext>
            </a:extLst>
          </p:cNvPr>
          <p:cNvPicPr>
            <a:picLocks/>
          </p:cNvPicPr>
          <p:nvPr/>
        </p:nvPicPr>
        <p:blipFill rotWithShape="1">
          <a:blip r:embed="rId94"/>
          <a:srcRect t="63342"/>
          <a:stretch/>
        </p:blipFill>
        <p:spPr>
          <a:xfrm>
            <a:off x="3154363" y="3851578"/>
            <a:ext cx="684084" cy="166688"/>
          </a:xfrm>
          <a:prstGeom prst="rect">
            <a:avLst/>
          </a:prstGeom>
        </p:spPr>
      </p:pic>
      <p:pic>
        <p:nvPicPr>
          <p:cNvPr id="235" name="Image 234">
            <a:extLst>
              <a:ext uri="{FF2B5EF4-FFF2-40B4-BE49-F238E27FC236}">
                <a16:creationId xmlns:a16="http://schemas.microsoft.com/office/drawing/2014/main" id="{220EB096-C32C-4AF7-B8C4-9BEADBE025D0}"/>
              </a:ext>
            </a:extLst>
          </p:cNvPr>
          <p:cNvPicPr>
            <a:picLocks/>
          </p:cNvPicPr>
          <p:nvPr/>
        </p:nvPicPr>
        <p:blipFill>
          <a:blip r:embed="rId93"/>
          <a:stretch>
            <a:fillRect/>
          </a:stretch>
        </p:blipFill>
        <p:spPr>
          <a:xfrm>
            <a:off x="3176588" y="1239838"/>
            <a:ext cx="684213" cy="455613"/>
          </a:xfrm>
          <a:prstGeom prst="rect">
            <a:avLst/>
          </a:prstGeom>
        </p:spPr>
      </p:pic>
      <p:sp>
        <p:nvSpPr>
          <p:cNvPr id="260" name="Rectangle 259">
            <a:extLst>
              <a:ext uri="{FF2B5EF4-FFF2-40B4-BE49-F238E27FC236}">
                <a16:creationId xmlns:a16="http://schemas.microsoft.com/office/drawing/2014/main" id="{EC730ABB-01FC-4F7B-BC43-D750336F74D7}"/>
              </a:ext>
            </a:extLst>
          </p:cNvPr>
          <p:cNvSpPr/>
          <p:nvPr/>
        </p:nvSpPr>
        <p:spPr>
          <a:xfrm>
            <a:off x="6895431" y="3724391"/>
            <a:ext cx="5125119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io</a:t>
            </a:r>
            <a:r>
              <a:rPr lang="fr-FR" sz="1400" b="1" kern="0" dirty="0">
                <a:solidFill>
                  <a:schemeClr val="bg1"/>
                </a:solidFill>
                <a:latin typeface="Calibri"/>
              </a:rPr>
              <a:t>ns produits &amp;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on-livrés YTD</a:t>
            </a:r>
          </a:p>
        </p:txBody>
      </p:sp>
      <p:sp>
        <p:nvSpPr>
          <p:cNvPr id="261" name="TextBox 26">
            <a:extLst>
              <a:ext uri="{FF2B5EF4-FFF2-40B4-BE49-F238E27FC236}">
                <a16:creationId xmlns:a16="http://schemas.microsoft.com/office/drawing/2014/main" id="{A10A4420-66C8-42DE-82D1-BEFFB2419C97}"/>
              </a:ext>
            </a:extLst>
          </p:cNvPr>
          <p:cNvSpPr txBox="1"/>
          <p:nvPr/>
        </p:nvSpPr>
        <p:spPr>
          <a:xfrm>
            <a:off x="1225550" y="4241106"/>
            <a:ext cx="1163638" cy="523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 014</a:t>
            </a:r>
          </a:p>
        </p:txBody>
      </p:sp>
      <p:sp>
        <p:nvSpPr>
          <p:cNvPr id="262" name="TextBox 26">
            <a:extLst>
              <a:ext uri="{FF2B5EF4-FFF2-40B4-BE49-F238E27FC236}">
                <a16:creationId xmlns:a16="http://schemas.microsoft.com/office/drawing/2014/main" id="{37A8C09C-710F-48E5-AF07-424C5D583BDF}"/>
              </a:ext>
            </a:extLst>
          </p:cNvPr>
          <p:cNvSpPr txBox="1"/>
          <p:nvPr/>
        </p:nvSpPr>
        <p:spPr>
          <a:xfrm>
            <a:off x="1981200" y="4350644"/>
            <a:ext cx="1163638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46</a:t>
            </a:r>
          </a:p>
        </p:txBody>
      </p:sp>
      <p:sp>
        <p:nvSpPr>
          <p:cNvPr id="263" name="TextBox 26">
            <a:extLst>
              <a:ext uri="{FF2B5EF4-FFF2-40B4-BE49-F238E27FC236}">
                <a16:creationId xmlns:a16="http://schemas.microsoft.com/office/drawing/2014/main" id="{54604176-CFA7-41D5-BE94-A3AE78B7F4C2}"/>
              </a:ext>
            </a:extLst>
          </p:cNvPr>
          <p:cNvSpPr txBox="1"/>
          <p:nvPr/>
        </p:nvSpPr>
        <p:spPr>
          <a:xfrm>
            <a:off x="1195387" y="5358706"/>
            <a:ext cx="1163638" cy="523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 179</a:t>
            </a:r>
          </a:p>
        </p:txBody>
      </p:sp>
      <p:sp>
        <p:nvSpPr>
          <p:cNvPr id="264" name="TextBox 26">
            <a:extLst>
              <a:ext uri="{FF2B5EF4-FFF2-40B4-BE49-F238E27FC236}">
                <a16:creationId xmlns:a16="http://schemas.microsoft.com/office/drawing/2014/main" id="{E165D15C-4633-4830-B94D-6C1F5067BE22}"/>
              </a:ext>
            </a:extLst>
          </p:cNvPr>
          <p:cNvSpPr txBox="1"/>
          <p:nvPr/>
        </p:nvSpPr>
        <p:spPr>
          <a:xfrm>
            <a:off x="1951037" y="5468244"/>
            <a:ext cx="1163638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43</a:t>
            </a:r>
          </a:p>
        </p:txBody>
      </p:sp>
      <p:pic>
        <p:nvPicPr>
          <p:cNvPr id="265" name="Image 264">
            <a:extLst>
              <a:ext uri="{FF2B5EF4-FFF2-40B4-BE49-F238E27FC236}">
                <a16:creationId xmlns:a16="http://schemas.microsoft.com/office/drawing/2014/main" id="{5B0D0375-7556-4333-AD89-10E3CDB44481}"/>
              </a:ext>
            </a:extLst>
          </p:cNvPr>
          <p:cNvPicPr>
            <a:picLocks noChangeAspect="1"/>
          </p:cNvPicPr>
          <p:nvPr/>
        </p:nvPicPr>
        <p:blipFill>
          <a:blip r:embed="rId94"/>
          <a:stretch>
            <a:fillRect/>
          </a:stretch>
        </p:blipFill>
        <p:spPr>
          <a:xfrm>
            <a:off x="293687" y="5282505"/>
            <a:ext cx="1069975" cy="504874"/>
          </a:xfrm>
          <a:prstGeom prst="rect">
            <a:avLst/>
          </a:prstGeom>
        </p:spPr>
      </p:pic>
      <p:pic>
        <p:nvPicPr>
          <p:cNvPr id="266" name="Image 265">
            <a:extLst>
              <a:ext uri="{FF2B5EF4-FFF2-40B4-BE49-F238E27FC236}">
                <a16:creationId xmlns:a16="http://schemas.microsoft.com/office/drawing/2014/main" id="{D9C302AC-93BF-45BC-ABEA-BA155C880603}"/>
              </a:ext>
            </a:extLst>
          </p:cNvPr>
          <p:cNvPicPr>
            <a:picLocks noChangeAspect="1"/>
          </p:cNvPicPr>
          <p:nvPr/>
        </p:nvPicPr>
        <p:blipFill>
          <a:blip r:embed="rId93"/>
          <a:stretch>
            <a:fillRect/>
          </a:stretch>
        </p:blipFill>
        <p:spPr>
          <a:xfrm>
            <a:off x="236537" y="4203007"/>
            <a:ext cx="1060450" cy="706277"/>
          </a:xfrm>
          <a:prstGeom prst="rect">
            <a:avLst/>
          </a:prstGeom>
        </p:spPr>
      </p:pic>
      <p:sp>
        <p:nvSpPr>
          <p:cNvPr id="268" name="ZoneTexte 267">
            <a:extLst>
              <a:ext uri="{FF2B5EF4-FFF2-40B4-BE49-F238E27FC236}">
                <a16:creationId xmlns:a16="http://schemas.microsoft.com/office/drawing/2014/main" id="{6A2D1725-9C14-496A-BCDA-9B2E63233BDD}"/>
              </a:ext>
            </a:extLst>
          </p:cNvPr>
          <p:cNvSpPr txBox="1"/>
          <p:nvPr/>
        </p:nvSpPr>
        <p:spPr>
          <a:xfrm>
            <a:off x="2011578" y="6212143"/>
            <a:ext cx="10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sp>
        <p:nvSpPr>
          <p:cNvPr id="187" name="ZoneTexte 186">
            <a:extLst>
              <a:ext uri="{FF2B5EF4-FFF2-40B4-BE49-F238E27FC236}">
                <a16:creationId xmlns:a16="http://schemas.microsoft.com/office/drawing/2014/main" id="{2BBCB42D-7904-4000-802F-1AF38302679F}"/>
              </a:ext>
            </a:extLst>
          </p:cNvPr>
          <p:cNvSpPr txBox="1"/>
          <p:nvPr/>
        </p:nvSpPr>
        <p:spPr>
          <a:xfrm>
            <a:off x="5791049" y="6247859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123C9CD-0DB3-4CF8-A58B-E9B01F7752F7}"/>
              </a:ext>
            </a:extLst>
          </p:cNvPr>
          <p:cNvSpPr txBox="1"/>
          <p:nvPr/>
        </p:nvSpPr>
        <p:spPr>
          <a:xfrm>
            <a:off x="7371972" y="1457161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ulations</a:t>
            </a:r>
          </a:p>
        </p:txBody>
      </p:sp>
      <p:sp>
        <p:nvSpPr>
          <p:cNvPr id="276" name="ZoneTexte 275">
            <a:extLst>
              <a:ext uri="{FF2B5EF4-FFF2-40B4-BE49-F238E27FC236}">
                <a16:creationId xmlns:a16="http://schemas.microsoft.com/office/drawing/2014/main" id="{F0E35A8C-6FA8-4F3C-8269-002FD9ACF97E}"/>
              </a:ext>
            </a:extLst>
          </p:cNvPr>
          <p:cNvSpPr txBox="1"/>
          <p:nvPr/>
        </p:nvSpPr>
        <p:spPr>
          <a:xfrm>
            <a:off x="8650076" y="1457161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andes</a:t>
            </a:r>
          </a:p>
        </p:txBody>
      </p:sp>
      <p:sp>
        <p:nvSpPr>
          <p:cNvPr id="277" name="ZoneTexte 276">
            <a:extLst>
              <a:ext uri="{FF2B5EF4-FFF2-40B4-BE49-F238E27FC236}">
                <a16:creationId xmlns:a16="http://schemas.microsoft.com/office/drawing/2014/main" id="{5FC510A5-37A9-4F76-974D-7679B28FABBD}"/>
              </a:ext>
            </a:extLst>
          </p:cNvPr>
          <p:cNvSpPr txBox="1"/>
          <p:nvPr/>
        </p:nvSpPr>
        <p:spPr>
          <a:xfrm>
            <a:off x="9941044" y="1454395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ulations</a:t>
            </a:r>
          </a:p>
        </p:txBody>
      </p:sp>
      <p:sp>
        <p:nvSpPr>
          <p:cNvPr id="278" name="ZoneTexte 277">
            <a:extLst>
              <a:ext uri="{FF2B5EF4-FFF2-40B4-BE49-F238E27FC236}">
                <a16:creationId xmlns:a16="http://schemas.microsoft.com/office/drawing/2014/main" id="{EC78708A-7225-4B28-BF64-1C278245839A}"/>
              </a:ext>
            </a:extLst>
          </p:cNvPr>
          <p:cNvSpPr txBox="1"/>
          <p:nvPr/>
        </p:nvSpPr>
        <p:spPr>
          <a:xfrm>
            <a:off x="10915972" y="1449776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andes</a:t>
            </a:r>
          </a:p>
        </p:txBody>
      </p:sp>
      <p:pic>
        <p:nvPicPr>
          <p:cNvPr id="330" name="Image 329">
            <a:extLst>
              <a:ext uri="{FF2B5EF4-FFF2-40B4-BE49-F238E27FC236}">
                <a16:creationId xmlns:a16="http://schemas.microsoft.com/office/drawing/2014/main" id="{7291A2C6-1F44-433E-8D67-8E5FDED700D8}"/>
              </a:ext>
            </a:extLst>
          </p:cNvPr>
          <p:cNvPicPr>
            <a:picLocks/>
          </p:cNvPicPr>
          <p:nvPr/>
        </p:nvPicPr>
        <p:blipFill>
          <a:blip r:embed="rId93"/>
          <a:stretch>
            <a:fillRect/>
          </a:stretch>
        </p:blipFill>
        <p:spPr>
          <a:xfrm>
            <a:off x="8139111" y="6020593"/>
            <a:ext cx="684213" cy="455613"/>
          </a:xfrm>
          <a:prstGeom prst="rect">
            <a:avLst/>
          </a:prstGeom>
        </p:spPr>
      </p:pic>
      <p:pic>
        <p:nvPicPr>
          <p:cNvPr id="331" name="Image 330">
            <a:extLst>
              <a:ext uri="{FF2B5EF4-FFF2-40B4-BE49-F238E27FC236}">
                <a16:creationId xmlns:a16="http://schemas.microsoft.com/office/drawing/2014/main" id="{07776989-3012-448A-B792-6035EC30C0C7}"/>
              </a:ext>
            </a:extLst>
          </p:cNvPr>
          <p:cNvPicPr>
            <a:picLocks/>
          </p:cNvPicPr>
          <p:nvPr/>
        </p:nvPicPr>
        <p:blipFill rotWithShape="1">
          <a:blip r:embed="rId94"/>
          <a:srcRect t="63342"/>
          <a:stretch/>
        </p:blipFill>
        <p:spPr>
          <a:xfrm>
            <a:off x="10514013" y="6188049"/>
            <a:ext cx="684213" cy="16668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0F248677-2B3B-4D33-8092-A63747D709D5}"/>
              </a:ext>
            </a:extLst>
          </p:cNvPr>
          <p:cNvSpPr txBox="1"/>
          <p:nvPr/>
        </p:nvSpPr>
        <p:spPr>
          <a:xfrm>
            <a:off x="7096524" y="5463000"/>
            <a:ext cx="3683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3)</a:t>
            </a:r>
          </a:p>
        </p:txBody>
      </p:sp>
      <p:sp>
        <p:nvSpPr>
          <p:cNvPr id="355" name="ZoneTexte 354">
            <a:extLst>
              <a:ext uri="{FF2B5EF4-FFF2-40B4-BE49-F238E27FC236}">
                <a16:creationId xmlns:a16="http://schemas.microsoft.com/office/drawing/2014/main" id="{C1E61069-C8CA-4019-A975-62D182A8B9CC}"/>
              </a:ext>
            </a:extLst>
          </p:cNvPr>
          <p:cNvSpPr txBox="1"/>
          <p:nvPr/>
        </p:nvSpPr>
        <p:spPr>
          <a:xfrm>
            <a:off x="8006559" y="4334097"/>
            <a:ext cx="368300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2)</a:t>
            </a:r>
          </a:p>
        </p:txBody>
      </p:sp>
      <p:sp>
        <p:nvSpPr>
          <p:cNvPr id="357" name="ZoneTexte 356">
            <a:extLst>
              <a:ext uri="{FF2B5EF4-FFF2-40B4-BE49-F238E27FC236}">
                <a16:creationId xmlns:a16="http://schemas.microsoft.com/office/drawing/2014/main" id="{4250E03D-4363-4E0A-85E5-48B3FEE56E02}"/>
              </a:ext>
            </a:extLst>
          </p:cNvPr>
          <p:cNvSpPr txBox="1"/>
          <p:nvPr/>
        </p:nvSpPr>
        <p:spPr>
          <a:xfrm>
            <a:off x="8479670" y="4148083"/>
            <a:ext cx="368300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1)</a:t>
            </a:r>
          </a:p>
        </p:txBody>
      </p:sp>
      <p:sp>
        <p:nvSpPr>
          <p:cNvPr id="358" name="ZoneTexte 357">
            <a:extLst>
              <a:ext uri="{FF2B5EF4-FFF2-40B4-BE49-F238E27FC236}">
                <a16:creationId xmlns:a16="http://schemas.microsoft.com/office/drawing/2014/main" id="{9C34914F-1284-4D25-9932-A77D91B995E9}"/>
              </a:ext>
            </a:extLst>
          </p:cNvPr>
          <p:cNvSpPr txBox="1"/>
          <p:nvPr/>
        </p:nvSpPr>
        <p:spPr>
          <a:xfrm>
            <a:off x="7495517" y="4495567"/>
            <a:ext cx="4337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25)</a:t>
            </a:r>
          </a:p>
        </p:txBody>
      </p:sp>
      <p:sp>
        <p:nvSpPr>
          <p:cNvPr id="360" name="ZoneTexte 359">
            <a:extLst>
              <a:ext uri="{FF2B5EF4-FFF2-40B4-BE49-F238E27FC236}">
                <a16:creationId xmlns:a16="http://schemas.microsoft.com/office/drawing/2014/main" id="{19196A2D-C978-4BD8-9E36-35CF1698960A}"/>
              </a:ext>
            </a:extLst>
          </p:cNvPr>
          <p:cNvSpPr txBox="1"/>
          <p:nvPr/>
        </p:nvSpPr>
        <p:spPr>
          <a:xfrm>
            <a:off x="9589032" y="4516443"/>
            <a:ext cx="437892" cy="231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61" name="ZoneTexte 360">
            <a:extLst>
              <a:ext uri="{FF2B5EF4-FFF2-40B4-BE49-F238E27FC236}">
                <a16:creationId xmlns:a16="http://schemas.microsoft.com/office/drawing/2014/main" id="{F5E423ED-6FCC-414B-84A6-82A4C6F9788A}"/>
              </a:ext>
            </a:extLst>
          </p:cNvPr>
          <p:cNvSpPr txBox="1"/>
          <p:nvPr/>
        </p:nvSpPr>
        <p:spPr>
          <a:xfrm>
            <a:off x="10001786" y="4438655"/>
            <a:ext cx="368300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62" name="ZoneTexte 361">
            <a:extLst>
              <a:ext uri="{FF2B5EF4-FFF2-40B4-BE49-F238E27FC236}">
                <a16:creationId xmlns:a16="http://schemas.microsoft.com/office/drawing/2014/main" id="{A6114E1E-91F5-478D-949C-061199671015}"/>
              </a:ext>
            </a:extLst>
          </p:cNvPr>
          <p:cNvSpPr txBox="1"/>
          <p:nvPr/>
        </p:nvSpPr>
        <p:spPr>
          <a:xfrm>
            <a:off x="10373521" y="4382560"/>
            <a:ext cx="368300" cy="231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1)</a:t>
            </a:r>
          </a:p>
        </p:txBody>
      </p:sp>
      <p:sp>
        <p:nvSpPr>
          <p:cNvPr id="363" name="ZoneTexte 362">
            <a:extLst>
              <a:ext uri="{FF2B5EF4-FFF2-40B4-BE49-F238E27FC236}">
                <a16:creationId xmlns:a16="http://schemas.microsoft.com/office/drawing/2014/main" id="{1EE6DD91-8F5D-4718-8FF9-03E431B13210}"/>
              </a:ext>
            </a:extLst>
          </p:cNvPr>
          <p:cNvSpPr txBox="1"/>
          <p:nvPr/>
        </p:nvSpPr>
        <p:spPr>
          <a:xfrm>
            <a:off x="10698162" y="4337583"/>
            <a:ext cx="4378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64" name="ZoneTexte 363">
            <a:extLst>
              <a:ext uri="{FF2B5EF4-FFF2-40B4-BE49-F238E27FC236}">
                <a16:creationId xmlns:a16="http://schemas.microsoft.com/office/drawing/2014/main" id="{A74B8A5E-C0E5-4919-BF72-E9ADB9693DF2}"/>
              </a:ext>
            </a:extLst>
          </p:cNvPr>
          <p:cNvSpPr txBox="1"/>
          <p:nvPr/>
        </p:nvSpPr>
        <p:spPr>
          <a:xfrm>
            <a:off x="11063290" y="4153301"/>
            <a:ext cx="4714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2)</a:t>
            </a:r>
          </a:p>
        </p:txBody>
      </p:sp>
      <p:sp>
        <p:nvSpPr>
          <p:cNvPr id="365" name="ZoneTexte 364">
            <a:extLst>
              <a:ext uri="{FF2B5EF4-FFF2-40B4-BE49-F238E27FC236}">
                <a16:creationId xmlns:a16="http://schemas.microsoft.com/office/drawing/2014/main" id="{7950B871-6B59-452A-B8F1-129A33AC9478}"/>
              </a:ext>
            </a:extLst>
          </p:cNvPr>
          <p:cNvSpPr txBox="1"/>
          <p:nvPr/>
        </p:nvSpPr>
        <p:spPr>
          <a:xfrm>
            <a:off x="11381127" y="4017333"/>
            <a:ext cx="5635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4)</a:t>
            </a:r>
          </a:p>
        </p:txBody>
      </p:sp>
      <p:sp>
        <p:nvSpPr>
          <p:cNvPr id="366" name="ZoneTexte 365">
            <a:extLst>
              <a:ext uri="{FF2B5EF4-FFF2-40B4-BE49-F238E27FC236}">
                <a16:creationId xmlns:a16="http://schemas.microsoft.com/office/drawing/2014/main" id="{886E17A4-5421-4A86-A1AE-1A457E232E50}"/>
              </a:ext>
            </a:extLst>
          </p:cNvPr>
          <p:cNvSpPr txBox="1"/>
          <p:nvPr/>
        </p:nvSpPr>
        <p:spPr>
          <a:xfrm>
            <a:off x="8836024" y="4017333"/>
            <a:ext cx="5905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32)</a:t>
            </a:r>
          </a:p>
        </p:txBody>
      </p:sp>
      <p:sp>
        <p:nvSpPr>
          <p:cNvPr id="241" name="ZoneTexte 240">
            <a:extLst>
              <a:ext uri="{FF2B5EF4-FFF2-40B4-BE49-F238E27FC236}">
                <a16:creationId xmlns:a16="http://schemas.microsoft.com/office/drawing/2014/main" id="{60E0184D-3E44-45FF-8DCD-30320905649A}"/>
              </a:ext>
            </a:extLst>
          </p:cNvPr>
          <p:cNvSpPr txBox="1"/>
          <p:nvPr/>
        </p:nvSpPr>
        <p:spPr>
          <a:xfrm>
            <a:off x="10916557" y="6257839"/>
            <a:ext cx="117387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estimations </a:t>
            </a:r>
            <a:r>
              <a:rPr lang="fr-FR" sz="600" dirty="0" err="1">
                <a:solidFill>
                  <a:schemeClr val="tx2"/>
                </a:solidFill>
              </a:rPr>
              <a:t>inernes</a:t>
            </a:r>
            <a:endParaRPr lang="fr-FR" sz="600" dirty="0">
              <a:solidFill>
                <a:schemeClr val="tx2"/>
              </a:solidFill>
            </a:endParaRPr>
          </a:p>
        </p:txBody>
      </p:sp>
      <p:sp>
        <p:nvSpPr>
          <p:cNvPr id="242" name="ZoneTexte 241">
            <a:extLst>
              <a:ext uri="{FF2B5EF4-FFF2-40B4-BE49-F238E27FC236}">
                <a16:creationId xmlns:a16="http://schemas.microsoft.com/office/drawing/2014/main" id="{CDC85699-793F-4A70-B9B6-9D55CF5F68E1}"/>
              </a:ext>
            </a:extLst>
          </p:cNvPr>
          <p:cNvSpPr txBox="1"/>
          <p:nvPr/>
        </p:nvSpPr>
        <p:spPr>
          <a:xfrm>
            <a:off x="11059746" y="3495791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0D795AFA-2D29-4CAE-B26D-3434FEF16F46}"/>
              </a:ext>
            </a:extLst>
          </p:cNvPr>
          <p:cNvGrpSpPr/>
          <p:nvPr/>
        </p:nvGrpSpPr>
        <p:grpSpPr>
          <a:xfrm>
            <a:off x="6298530" y="3579944"/>
            <a:ext cx="666557" cy="230832"/>
            <a:chOff x="4922272" y="3579760"/>
            <a:chExt cx="418735" cy="230832"/>
          </a:xfrm>
        </p:grpSpPr>
        <p:sp>
          <p:nvSpPr>
            <p:cNvPr id="247" name="ZoneTexte 246">
              <a:extLst>
                <a:ext uri="{FF2B5EF4-FFF2-40B4-BE49-F238E27FC236}">
                  <a16:creationId xmlns:a16="http://schemas.microsoft.com/office/drawing/2014/main" id="{773A6194-CB64-46DA-B1B7-4472C2143038}"/>
                </a:ext>
              </a:extLst>
            </p:cNvPr>
            <p:cNvSpPr txBox="1"/>
            <p:nvPr/>
          </p:nvSpPr>
          <p:spPr>
            <a:xfrm>
              <a:off x="4922272" y="3579760"/>
              <a:ext cx="41873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22</a:t>
              </a:r>
            </a:p>
          </p:txBody>
        </p:sp>
        <p:cxnSp>
          <p:nvCxnSpPr>
            <p:cNvPr id="245" name="Connecteur droit 244">
              <a:extLst>
                <a:ext uri="{FF2B5EF4-FFF2-40B4-BE49-F238E27FC236}">
                  <a16:creationId xmlns:a16="http://schemas.microsoft.com/office/drawing/2014/main" id="{AFDB29DF-5506-4336-A5B9-B7DDA77D3DDB}"/>
                </a:ext>
              </a:extLst>
            </p:cNvPr>
            <p:cNvCxnSpPr/>
            <p:nvPr/>
          </p:nvCxnSpPr>
          <p:spPr>
            <a:xfrm>
              <a:off x="5071843" y="3598149"/>
              <a:ext cx="113077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7" name="Rectangle 256">
            <a:extLst>
              <a:ext uri="{FF2B5EF4-FFF2-40B4-BE49-F238E27FC236}">
                <a16:creationId xmlns:a16="http://schemas.microsoft.com/office/drawing/2014/main" id="{5D03E258-852E-41C6-A6E6-DDC6914F81E3}"/>
              </a:ext>
            </a:extLst>
          </p:cNvPr>
          <p:cNvSpPr/>
          <p:nvPr/>
        </p:nvSpPr>
        <p:spPr>
          <a:xfrm>
            <a:off x="182563" y="1296013"/>
            <a:ext cx="2809875" cy="23749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7" name="ZoneTexte 266">
            <a:extLst>
              <a:ext uri="{FF2B5EF4-FFF2-40B4-BE49-F238E27FC236}">
                <a16:creationId xmlns:a16="http://schemas.microsoft.com/office/drawing/2014/main" id="{C49FCF00-D4FB-49DD-81EA-E4E96B6CD637}"/>
              </a:ext>
            </a:extLst>
          </p:cNvPr>
          <p:cNvSpPr txBox="1"/>
          <p:nvPr/>
        </p:nvSpPr>
        <p:spPr>
          <a:xfrm>
            <a:off x="2042227" y="3480842"/>
            <a:ext cx="10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pic>
        <p:nvPicPr>
          <p:cNvPr id="273" name="Image 272">
            <a:extLst>
              <a:ext uri="{FF2B5EF4-FFF2-40B4-BE49-F238E27FC236}">
                <a16:creationId xmlns:a16="http://schemas.microsoft.com/office/drawing/2014/main" id="{3183903A-232E-4403-9435-C409F6B2FB05}"/>
              </a:ext>
            </a:extLst>
          </p:cNvPr>
          <p:cNvPicPr>
            <a:picLocks/>
          </p:cNvPicPr>
          <p:nvPr/>
        </p:nvPicPr>
        <p:blipFill rotWithShape="1">
          <a:blip r:embed="rId94"/>
          <a:srcRect t="63342"/>
          <a:stretch/>
        </p:blipFill>
        <p:spPr>
          <a:xfrm>
            <a:off x="2200285" y="1373854"/>
            <a:ext cx="571643" cy="168301"/>
          </a:xfrm>
          <a:prstGeom prst="rect">
            <a:avLst/>
          </a:prstGeom>
        </p:spPr>
      </p:pic>
      <p:pic>
        <p:nvPicPr>
          <p:cNvPr id="274" name="Image 273">
            <a:extLst>
              <a:ext uri="{FF2B5EF4-FFF2-40B4-BE49-F238E27FC236}">
                <a16:creationId xmlns:a16="http://schemas.microsoft.com/office/drawing/2014/main" id="{F522400D-D672-4F8A-B425-4DD291EE6AD4}"/>
              </a:ext>
            </a:extLst>
          </p:cNvPr>
          <p:cNvPicPr>
            <a:picLocks noChangeAspect="1"/>
          </p:cNvPicPr>
          <p:nvPr/>
        </p:nvPicPr>
        <p:blipFill>
          <a:blip r:embed="rId93"/>
          <a:stretch>
            <a:fillRect/>
          </a:stretch>
        </p:blipFill>
        <p:spPr>
          <a:xfrm>
            <a:off x="1052273" y="1237249"/>
            <a:ext cx="646571" cy="430628"/>
          </a:xfrm>
          <a:prstGeom prst="rect">
            <a:avLst/>
          </a:prstGeom>
        </p:spPr>
      </p:pic>
      <p:sp>
        <p:nvSpPr>
          <p:cNvPr id="275" name="ZoneTexte 274">
            <a:extLst>
              <a:ext uri="{FF2B5EF4-FFF2-40B4-BE49-F238E27FC236}">
                <a16:creationId xmlns:a16="http://schemas.microsoft.com/office/drawing/2014/main" id="{F0A72C28-CB29-4FEA-85F5-C8445BB9BCEB}"/>
              </a:ext>
            </a:extLst>
          </p:cNvPr>
          <p:cNvSpPr txBox="1"/>
          <p:nvPr/>
        </p:nvSpPr>
        <p:spPr>
          <a:xfrm>
            <a:off x="199830" y="1841462"/>
            <a:ext cx="69196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vraisons</a:t>
            </a:r>
          </a:p>
        </p:txBody>
      </p:sp>
      <p:sp>
        <p:nvSpPr>
          <p:cNvPr id="280" name="ZoneTexte 279">
            <a:extLst>
              <a:ext uri="{FF2B5EF4-FFF2-40B4-BE49-F238E27FC236}">
                <a16:creationId xmlns:a16="http://schemas.microsoft.com/office/drawing/2014/main" id="{C35AFC77-FE66-442F-89EC-28FA71755578}"/>
              </a:ext>
            </a:extLst>
          </p:cNvPr>
          <p:cNvSpPr txBox="1"/>
          <p:nvPr/>
        </p:nvSpPr>
        <p:spPr>
          <a:xfrm>
            <a:off x="218583" y="2159272"/>
            <a:ext cx="6919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andes brutes</a:t>
            </a:r>
          </a:p>
        </p:txBody>
      </p:sp>
      <p:sp>
        <p:nvSpPr>
          <p:cNvPr id="281" name="ZoneTexte 280">
            <a:extLst>
              <a:ext uri="{FF2B5EF4-FFF2-40B4-BE49-F238E27FC236}">
                <a16:creationId xmlns:a16="http://schemas.microsoft.com/office/drawing/2014/main" id="{EF8EA109-00D6-48C4-B00A-A14A08926E8D}"/>
              </a:ext>
            </a:extLst>
          </p:cNvPr>
          <p:cNvSpPr txBox="1"/>
          <p:nvPr/>
        </p:nvSpPr>
        <p:spPr>
          <a:xfrm>
            <a:off x="222254" y="2656140"/>
            <a:ext cx="69196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ulations</a:t>
            </a:r>
          </a:p>
        </p:txBody>
      </p:sp>
      <p:sp>
        <p:nvSpPr>
          <p:cNvPr id="282" name="ZoneTexte 281">
            <a:extLst>
              <a:ext uri="{FF2B5EF4-FFF2-40B4-BE49-F238E27FC236}">
                <a16:creationId xmlns:a16="http://schemas.microsoft.com/office/drawing/2014/main" id="{1BA2E13E-34A9-444F-8511-93E90DF08A08}"/>
              </a:ext>
            </a:extLst>
          </p:cNvPr>
          <p:cNvSpPr txBox="1"/>
          <p:nvPr/>
        </p:nvSpPr>
        <p:spPr>
          <a:xfrm>
            <a:off x="196236" y="3004607"/>
            <a:ext cx="6919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ions </a:t>
            </a:r>
          </a:p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 stock</a:t>
            </a:r>
          </a:p>
        </p:txBody>
      </p:sp>
      <p:graphicFrame>
        <p:nvGraphicFramePr>
          <p:cNvPr id="298" name="Tableau 20">
            <a:extLst>
              <a:ext uri="{FF2B5EF4-FFF2-40B4-BE49-F238E27FC236}">
                <a16:creationId xmlns:a16="http://schemas.microsoft.com/office/drawing/2014/main" id="{D64DE84F-2B82-44CB-9B61-C15425C39929}"/>
              </a:ext>
            </a:extLst>
          </p:cNvPr>
          <p:cNvGraphicFramePr>
            <a:graphicFrameLocks noGrp="1"/>
          </p:cNvGraphicFramePr>
          <p:nvPr/>
        </p:nvGraphicFramePr>
        <p:xfrm>
          <a:off x="1042465" y="1673739"/>
          <a:ext cx="633361" cy="1701272"/>
        </p:xfrm>
        <a:graphic>
          <a:graphicData uri="http://schemas.openxmlformats.org/drawingml/2006/table">
            <a:tbl>
              <a:tblPr>
                <a:tableStyleId>{1FECB4D8-DB02-4DC6-A0A2-4F2EBAE1DC90}</a:tableStyleId>
              </a:tblPr>
              <a:tblGrid>
                <a:gridCol w="633361">
                  <a:extLst>
                    <a:ext uri="{9D8B030D-6E8A-4147-A177-3AD203B41FA5}">
                      <a16:colId xmlns:a16="http://schemas.microsoft.com/office/drawing/2014/main" val="2064618146"/>
                    </a:ext>
                  </a:extLst>
                </a:gridCol>
              </a:tblGrid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9391699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3324000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5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6985296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31722629"/>
                  </a:ext>
                </a:extLst>
              </a:tr>
            </a:tbl>
          </a:graphicData>
        </a:graphic>
      </p:graphicFrame>
      <p:graphicFrame>
        <p:nvGraphicFramePr>
          <p:cNvPr id="299" name="Tableau 20">
            <a:extLst>
              <a:ext uri="{FF2B5EF4-FFF2-40B4-BE49-F238E27FC236}">
                <a16:creationId xmlns:a16="http://schemas.microsoft.com/office/drawing/2014/main" id="{E6D899DD-271A-4BA2-B71A-FFD985AC4795}"/>
              </a:ext>
            </a:extLst>
          </p:cNvPr>
          <p:cNvGraphicFramePr>
            <a:graphicFrameLocks noGrp="1"/>
          </p:cNvGraphicFramePr>
          <p:nvPr/>
        </p:nvGraphicFramePr>
        <p:xfrm>
          <a:off x="2124523" y="1686458"/>
          <a:ext cx="633361" cy="1701272"/>
        </p:xfrm>
        <a:graphic>
          <a:graphicData uri="http://schemas.openxmlformats.org/drawingml/2006/table">
            <a:tbl>
              <a:tblPr>
                <a:tableStyleId>{1FECB4D8-DB02-4DC6-A0A2-4F2EBAE1DC90}</a:tableStyleId>
              </a:tblPr>
              <a:tblGrid>
                <a:gridCol w="633361">
                  <a:extLst>
                    <a:ext uri="{9D8B030D-6E8A-4147-A177-3AD203B41FA5}">
                      <a16:colId xmlns:a16="http://schemas.microsoft.com/office/drawing/2014/main" val="2064618146"/>
                    </a:ext>
                  </a:extLst>
                </a:gridCol>
              </a:tblGrid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9391699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3324000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6985296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31722629"/>
                  </a:ext>
                </a:extLst>
              </a:tr>
            </a:tbl>
          </a:graphicData>
        </a:graphic>
      </p:graphicFrame>
      <p:cxnSp>
        <p:nvCxnSpPr>
          <p:cNvPr id="300" name="Connecteur droit 299">
            <a:extLst>
              <a:ext uri="{FF2B5EF4-FFF2-40B4-BE49-F238E27FC236}">
                <a16:creationId xmlns:a16="http://schemas.microsoft.com/office/drawing/2014/main" id="{49301923-45A2-4EFD-8E4B-5AD618109A8D}"/>
              </a:ext>
            </a:extLst>
          </p:cNvPr>
          <p:cNvCxnSpPr>
            <a:cxnSpLocks/>
          </p:cNvCxnSpPr>
          <p:nvPr/>
        </p:nvCxnSpPr>
        <p:spPr>
          <a:xfrm>
            <a:off x="1884211" y="1537138"/>
            <a:ext cx="0" cy="1798638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4" name="Groupe 313">
            <a:extLst>
              <a:ext uri="{FF2B5EF4-FFF2-40B4-BE49-F238E27FC236}">
                <a16:creationId xmlns:a16="http://schemas.microsoft.com/office/drawing/2014/main" id="{4C839737-8DDF-4A7F-9873-AC79B19D6E63}"/>
              </a:ext>
            </a:extLst>
          </p:cNvPr>
          <p:cNvGrpSpPr>
            <a:grpSpLocks/>
          </p:cNvGrpSpPr>
          <p:nvPr/>
        </p:nvGrpSpPr>
        <p:grpSpPr>
          <a:xfrm>
            <a:off x="3355013" y="6093062"/>
            <a:ext cx="3060002" cy="231775"/>
            <a:chOff x="666491" y="3568700"/>
            <a:chExt cx="3060518" cy="231775"/>
          </a:xfrm>
        </p:grpSpPr>
        <p:sp>
          <p:nvSpPr>
            <p:cNvPr id="315" name="ZoneTexte 314">
              <a:extLst>
                <a:ext uri="{FF2B5EF4-FFF2-40B4-BE49-F238E27FC236}">
                  <a16:creationId xmlns:a16="http://schemas.microsoft.com/office/drawing/2014/main" id="{82D0CE73-D0E0-4C32-AE2C-195573314324}"/>
                </a:ext>
              </a:extLst>
            </p:cNvPr>
            <p:cNvSpPr txBox="1"/>
            <p:nvPr/>
          </p:nvSpPr>
          <p:spPr>
            <a:xfrm>
              <a:off x="1806345" y="3568700"/>
              <a:ext cx="777698" cy="23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21</a:t>
              </a:r>
            </a:p>
          </p:txBody>
        </p:sp>
        <p:cxnSp>
          <p:nvCxnSpPr>
            <p:cNvPr id="316" name="Connecteur droit 315">
              <a:extLst>
                <a:ext uri="{FF2B5EF4-FFF2-40B4-BE49-F238E27FC236}">
                  <a16:creationId xmlns:a16="http://schemas.microsoft.com/office/drawing/2014/main" id="{30C0A0BF-34BA-4206-87EC-19DF26CB9F78}"/>
                </a:ext>
              </a:extLst>
            </p:cNvPr>
            <p:cNvCxnSpPr>
              <a:cxnSpLocks/>
            </p:cNvCxnSpPr>
            <p:nvPr/>
          </p:nvCxnSpPr>
          <p:spPr>
            <a:xfrm>
              <a:off x="666491" y="3579099"/>
              <a:ext cx="306051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7" name="Groupe 316">
            <a:extLst>
              <a:ext uri="{FF2B5EF4-FFF2-40B4-BE49-F238E27FC236}">
                <a16:creationId xmlns:a16="http://schemas.microsoft.com/office/drawing/2014/main" id="{43FBFDCF-B3FA-4656-931F-770429E1A114}"/>
              </a:ext>
            </a:extLst>
          </p:cNvPr>
          <p:cNvGrpSpPr/>
          <p:nvPr/>
        </p:nvGrpSpPr>
        <p:grpSpPr>
          <a:xfrm>
            <a:off x="6272512" y="6085255"/>
            <a:ext cx="666557" cy="230832"/>
            <a:chOff x="4922272" y="3579760"/>
            <a:chExt cx="418735" cy="230832"/>
          </a:xfrm>
        </p:grpSpPr>
        <p:sp>
          <p:nvSpPr>
            <p:cNvPr id="319" name="ZoneTexte 318">
              <a:extLst>
                <a:ext uri="{FF2B5EF4-FFF2-40B4-BE49-F238E27FC236}">
                  <a16:creationId xmlns:a16="http://schemas.microsoft.com/office/drawing/2014/main" id="{3424BF22-6BA5-411F-AAE1-7C4FB0788DD8}"/>
                </a:ext>
              </a:extLst>
            </p:cNvPr>
            <p:cNvSpPr txBox="1"/>
            <p:nvPr/>
          </p:nvSpPr>
          <p:spPr>
            <a:xfrm>
              <a:off x="4922272" y="3579760"/>
              <a:ext cx="41873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22</a:t>
              </a:r>
            </a:p>
          </p:txBody>
        </p:sp>
        <p:cxnSp>
          <p:nvCxnSpPr>
            <p:cNvPr id="322" name="Connecteur droit 321">
              <a:extLst>
                <a:ext uri="{FF2B5EF4-FFF2-40B4-BE49-F238E27FC236}">
                  <a16:creationId xmlns:a16="http://schemas.microsoft.com/office/drawing/2014/main" id="{210E8F9C-7BEE-4FFD-A29B-90F03B4AE1E7}"/>
                </a:ext>
              </a:extLst>
            </p:cNvPr>
            <p:cNvCxnSpPr/>
            <p:nvPr/>
          </p:nvCxnSpPr>
          <p:spPr>
            <a:xfrm>
              <a:off x="5071843" y="3598149"/>
              <a:ext cx="113077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24" name="Graphique 323">
            <a:extLst>
              <a:ext uri="{FF2B5EF4-FFF2-40B4-BE49-F238E27FC236}">
                <a16:creationId xmlns:a16="http://schemas.microsoft.com/office/drawing/2014/main" id="{4A9F05B8-4C61-41AD-B6FE-012BC0EA6717}"/>
              </a:ext>
            </a:extLst>
          </p:cNvPr>
          <p:cNvGraphicFramePr>
            <a:graphicFrameLocks/>
          </p:cNvGraphicFramePr>
          <p:nvPr>
            <p:custDataLst>
              <p:tags r:id="rId86"/>
            </p:custDataLst>
            <p:extLst>
              <p:ext uri="{D42A27DB-BD31-4B8C-83A1-F6EECF244321}">
                <p14:modId xmlns:p14="http://schemas.microsoft.com/office/powerpoint/2010/main" val="657058570"/>
              </p:ext>
            </p:extLst>
          </p:nvPr>
        </p:nvGraphicFramePr>
        <p:xfrm>
          <a:off x="6919573" y="1725613"/>
          <a:ext cx="2491200" cy="17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62A22F70-FB03-456A-83CB-014703592A3E}"/>
              </a:ext>
            </a:extLst>
          </p:cNvPr>
          <p:cNvCxnSpPr/>
          <p:nvPr/>
        </p:nvCxnSpPr>
        <p:spPr>
          <a:xfrm flipH="1">
            <a:off x="8501906" y="1568027"/>
            <a:ext cx="0" cy="1798044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6" name="Graphique 325">
            <a:extLst>
              <a:ext uri="{FF2B5EF4-FFF2-40B4-BE49-F238E27FC236}">
                <a16:creationId xmlns:a16="http://schemas.microsoft.com/office/drawing/2014/main" id="{2EFAD91C-BAC7-4F15-859B-7DC7BBC5D264}"/>
              </a:ext>
            </a:extLst>
          </p:cNvPr>
          <p:cNvGraphicFramePr>
            <a:graphicFrameLocks/>
          </p:cNvGraphicFramePr>
          <p:nvPr>
            <p:custDataLst>
              <p:tags r:id="rId87"/>
            </p:custDataLst>
            <p:extLst>
              <p:ext uri="{D42A27DB-BD31-4B8C-83A1-F6EECF244321}">
                <p14:modId xmlns:p14="http://schemas.microsoft.com/office/powerpoint/2010/main" val="3768246131"/>
              </p:ext>
            </p:extLst>
          </p:nvPr>
        </p:nvGraphicFramePr>
        <p:xfrm>
          <a:off x="9578312" y="1644132"/>
          <a:ext cx="2491200" cy="17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2"/>
          </a:graphicData>
        </a:graphic>
      </p:graphicFrame>
      <p:cxnSp>
        <p:nvCxnSpPr>
          <p:cNvPr id="279" name="Connecteur droit 278">
            <a:extLst>
              <a:ext uri="{FF2B5EF4-FFF2-40B4-BE49-F238E27FC236}">
                <a16:creationId xmlns:a16="http://schemas.microsoft.com/office/drawing/2014/main" id="{96EB7270-1670-4F9D-A817-68DA75900D78}"/>
              </a:ext>
            </a:extLst>
          </p:cNvPr>
          <p:cNvCxnSpPr/>
          <p:nvPr/>
        </p:nvCxnSpPr>
        <p:spPr>
          <a:xfrm flipH="1">
            <a:off x="10742131" y="1533481"/>
            <a:ext cx="0" cy="1798044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1396719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" name="Objet 99" hidden="1">
            <a:extLst>
              <a:ext uri="{FF2B5EF4-FFF2-40B4-BE49-F238E27FC236}">
                <a16:creationId xmlns:a16="http://schemas.microsoft.com/office/drawing/2014/main" id="{8589F35F-0A8D-4311-B1FF-9080646555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7785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5" imgW="344" imgH="344" progId="TCLayout.ActiveDocument.1">
                  <p:embed/>
                </p:oleObj>
              </mc:Choice>
              <mc:Fallback>
                <p:oleObj name="Diapositive think-cell" r:id="rId25" imgW="344" imgH="344" progId="TCLayout.ActiveDocument.1">
                  <p:embed/>
                  <p:pic>
                    <p:nvPicPr>
                      <p:cNvPr id="100" name="Objet 99" hidden="1">
                        <a:extLst>
                          <a:ext uri="{FF2B5EF4-FFF2-40B4-BE49-F238E27FC236}">
                            <a16:creationId xmlns:a16="http://schemas.microsoft.com/office/drawing/2014/main" id="{8589F35F-0A8D-4311-B1FF-908064655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95EFB8ED-8525-44D3-81E0-0D09718A15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10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869" name="Image 868">
            <a:extLst>
              <a:ext uri="{FF2B5EF4-FFF2-40B4-BE49-F238E27FC236}">
                <a16:creationId xmlns:a16="http://schemas.microsoft.com/office/drawing/2014/main" id="{ACF24F4C-AA51-48A3-9BBB-F7448B2C06B3}"/>
              </a:ext>
            </a:extLst>
          </p:cNvPr>
          <p:cNvPicPr>
            <a:picLocks/>
          </p:cNvPicPr>
          <p:nvPr/>
        </p:nvPicPr>
        <p:blipFill rotWithShape="1">
          <a:blip r:embed="rId27"/>
          <a:srcRect l="2155"/>
          <a:stretch/>
        </p:blipFill>
        <p:spPr>
          <a:xfrm>
            <a:off x="84000" y="976768"/>
            <a:ext cx="12024000" cy="5492295"/>
          </a:xfrm>
          <a:prstGeom prst="rect">
            <a:avLst/>
          </a:prstGeom>
        </p:spPr>
      </p:pic>
      <p:sp>
        <p:nvSpPr>
          <p:cNvPr id="871" name="Rectangle 870">
            <a:extLst>
              <a:ext uri="{FF2B5EF4-FFF2-40B4-BE49-F238E27FC236}">
                <a16:creationId xmlns:a16="http://schemas.microsoft.com/office/drawing/2014/main" id="{64210237-1B7A-4D9A-8DEF-E0D7D025F0C2}"/>
              </a:ext>
            </a:extLst>
          </p:cNvPr>
          <p:cNvSpPr/>
          <p:nvPr/>
        </p:nvSpPr>
        <p:spPr>
          <a:xfrm>
            <a:off x="5993474" y="1364325"/>
            <a:ext cx="5981943" cy="3060355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0" name="Rectangle 869">
            <a:extLst>
              <a:ext uri="{FF2B5EF4-FFF2-40B4-BE49-F238E27FC236}">
                <a16:creationId xmlns:a16="http://schemas.microsoft.com/office/drawing/2014/main" id="{C75659F7-9CB2-4887-8A0C-810962CD176B}"/>
              </a:ext>
            </a:extLst>
          </p:cNvPr>
          <p:cNvSpPr/>
          <p:nvPr/>
        </p:nvSpPr>
        <p:spPr>
          <a:xfrm>
            <a:off x="189707" y="1373295"/>
            <a:ext cx="5754576" cy="5019013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9B1A035-2CF0-4F9D-9E1F-5C99E51D4A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cap="small" dirty="0"/>
              <a:t>Prévisions des cadences de production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B489620-C6BF-4186-8E3F-F876FA63F9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45335D-FC8B-48AC-8398-E11E408D4F7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739" name="Rectangle 738">
            <a:extLst>
              <a:ext uri="{FF2B5EF4-FFF2-40B4-BE49-F238E27FC236}">
                <a16:creationId xmlns:a16="http://schemas.microsoft.com/office/drawing/2014/main" id="{33C78E60-2E06-449B-AF6E-274549A09B03}"/>
              </a:ext>
            </a:extLst>
          </p:cNvPr>
          <p:cNvSpPr/>
          <p:nvPr/>
        </p:nvSpPr>
        <p:spPr bwMode="auto">
          <a:xfrm>
            <a:off x="177869" y="1322206"/>
            <a:ext cx="5613332" cy="4413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rgbClr val="FA6414"/>
              </a:buClr>
            </a:pPr>
            <a:r>
              <a:rPr lang="fr-CA" sz="1100" b="1" kern="1400" dirty="0">
                <a:solidFill>
                  <a:srgbClr val="1A003B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évisions des cadences de production mensuelle, nb d’avions - 2019 – 2026 (PIC#43)</a:t>
            </a:r>
          </a:p>
        </p:txBody>
      </p:sp>
      <p:sp>
        <p:nvSpPr>
          <p:cNvPr id="742" name="Rectangle 741">
            <a:extLst>
              <a:ext uri="{FF2B5EF4-FFF2-40B4-BE49-F238E27FC236}">
                <a16:creationId xmlns:a16="http://schemas.microsoft.com/office/drawing/2014/main" id="{ABC18BB4-82C9-4223-AAD8-AE0995D1758D}"/>
              </a:ext>
            </a:extLst>
          </p:cNvPr>
          <p:cNvSpPr/>
          <p:nvPr/>
        </p:nvSpPr>
        <p:spPr bwMode="auto">
          <a:xfrm>
            <a:off x="6003624" y="1322206"/>
            <a:ext cx="5613400" cy="4413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rgbClr val="FA6414"/>
              </a:buClr>
            </a:pPr>
            <a:r>
              <a:rPr lang="fr-CA" sz="1100" b="1" kern="1400" dirty="0">
                <a:solidFill>
                  <a:srgbClr val="1A003B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adences de production mensuelle à date vs Mois-1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CA74808-F434-4FB1-BE5E-2F031EAA0FDE}"/>
              </a:ext>
            </a:extLst>
          </p:cNvPr>
          <p:cNvSpPr/>
          <p:nvPr/>
        </p:nvSpPr>
        <p:spPr>
          <a:xfrm>
            <a:off x="84000" y="1067765"/>
            <a:ext cx="12024000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évisions des cadences de production mensuelle</a:t>
            </a:r>
          </a:p>
        </p:txBody>
      </p:sp>
      <p:pic>
        <p:nvPicPr>
          <p:cNvPr id="149" name="Image 31">
            <a:extLst>
              <a:ext uri="{FF2B5EF4-FFF2-40B4-BE49-F238E27FC236}">
                <a16:creationId xmlns:a16="http://schemas.microsoft.com/office/drawing/2014/main" id="{2BA8DE92-6738-4C04-AE1A-247FB8844C8B}"/>
              </a:ext>
            </a:extLst>
          </p:cNvPr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133" name="Ellipse 132">
            <a:extLst>
              <a:ext uri="{FF2B5EF4-FFF2-40B4-BE49-F238E27FC236}">
                <a16:creationId xmlns:a16="http://schemas.microsoft.com/office/drawing/2014/main" id="{4831262B-A26E-47A5-A286-710C146AE50D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3</a:t>
            </a:r>
          </a:p>
        </p:txBody>
      </p:sp>
      <p:graphicFrame>
        <p:nvGraphicFramePr>
          <p:cNvPr id="61" name="Chart 3">
            <a:extLst>
              <a:ext uri="{FF2B5EF4-FFF2-40B4-BE49-F238E27FC236}">
                <a16:creationId xmlns:a16="http://schemas.microsoft.com/office/drawing/2014/main" id="{C1D2F2E5-83F4-415D-9D49-2DA47088B06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10611543"/>
              </p:ext>
            </p:extLst>
          </p:nvPr>
        </p:nvGraphicFramePr>
        <p:xfrm>
          <a:off x="6007100" y="2054225"/>
          <a:ext cx="2290763" cy="2201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51" name="Espace réservé du texte 2">
            <a:extLst>
              <a:ext uri="{FF2B5EF4-FFF2-40B4-BE49-F238E27FC236}">
                <a16:creationId xmlns:a16="http://schemas.microsoft.com/office/drawing/2014/main" id="{D886DA7A-7E73-490B-A584-A4D185A304C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01038" y="3841750"/>
            <a:ext cx="2714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287CEE8B-8F21-496D-894F-FA7358D2A268}" type="datetime'''''A''''''''''''3''''''''5''''''0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50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8" name="Espace réservé du texte 2">
            <a:extLst>
              <a:ext uri="{FF2B5EF4-FFF2-40B4-BE49-F238E27FC236}">
                <a16:creationId xmlns:a16="http://schemas.microsoft.com/office/drawing/2014/main" id="{BBBED07B-9BF3-49F2-B15C-32DE30829C4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301038" y="2314575"/>
            <a:ext cx="2714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A55E4D64-DC0E-4302-9FD0-A225C73324DC}" type="datetime'''''A''''2''''2''''''''''''''''''''0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220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7" name="Espace réservé du texte 2">
            <a:extLst>
              <a:ext uri="{FF2B5EF4-FFF2-40B4-BE49-F238E27FC236}">
                <a16:creationId xmlns:a16="http://schemas.microsoft.com/office/drawing/2014/main" id="{A6A6738F-F0E0-486F-9139-0830926B3A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301038" y="3332163"/>
            <a:ext cx="5238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E2627584-1013-40F1-8EBD-45FDBF79B48B}" type="datetime'''''A''3''''''30'''''''''''' ''''''''''Fa''''''''m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30 Fam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0" name="Espace réservé du texte 2">
            <a:extLst>
              <a:ext uri="{FF2B5EF4-FFF2-40B4-BE49-F238E27FC236}">
                <a16:creationId xmlns:a16="http://schemas.microsoft.com/office/drawing/2014/main" id="{5FF19DBF-43B9-4F47-88D6-892CEA366C2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301038" y="2824163"/>
            <a:ext cx="5238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5299C756-E723-4523-B465-58BEE8975A07}" type="datetime'''''A3''''''''''2''0 ''''''''''''F''''''''am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20 Fam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ACAE95C9-3B62-45D6-B8CC-694C1F63E97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0882313" y="1476375"/>
            <a:ext cx="196850" cy="147638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1E03B198-07C0-4269-95E4-B461A9DFB22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882313" y="1695450"/>
            <a:ext cx="196850" cy="147638"/>
          </a:xfrm>
          <a:prstGeom prst="rect">
            <a:avLst/>
          </a:prstGeom>
          <a:solidFill>
            <a:srgbClr val="44546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7" name="Espace réservé du texte 2">
            <a:extLst>
              <a:ext uri="{FF2B5EF4-FFF2-40B4-BE49-F238E27FC236}">
                <a16:creationId xmlns:a16="http://schemas.microsoft.com/office/drawing/2014/main" id="{6DDBECF7-8C5D-4120-9EF0-E8D640FB88F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129963" y="1471613"/>
            <a:ext cx="4016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14432F60-1795-450C-894F-17354596EB2A}" type="datetime'''''''M''''o''is''''-''''''''1'''''''''''''">
              <a:rPr lang="fr-FR" altLang="en-US" sz="1100" b="1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Mois-1</a:t>
            </a:fld>
            <a:endParaRPr lang="fr-FR" sz="11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8" name="Espace réservé du texte 2">
            <a:extLst>
              <a:ext uri="{FF2B5EF4-FFF2-40B4-BE49-F238E27FC236}">
                <a16:creationId xmlns:a16="http://schemas.microsoft.com/office/drawing/2014/main" id="{B3473F50-670B-43ED-AF3C-72A60F9C0F2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129963" y="1690688"/>
            <a:ext cx="3778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1E02D007-A37A-43E3-966F-3233EF8AA16B}" type="datetime'''''A'''' d''at''e'''''''''''''''''''''''''''''''''''''''''''">
              <a:rPr lang="fr-FR" altLang="en-US" sz="11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 date</a:t>
            </a:fld>
            <a:endParaRPr lang="fr-FR" sz="11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67" name="Chart 3">
            <a:extLst>
              <a:ext uri="{FF2B5EF4-FFF2-40B4-BE49-F238E27FC236}">
                <a16:creationId xmlns:a16="http://schemas.microsoft.com/office/drawing/2014/main" id="{F4D9F739-3893-4508-9D2A-A41A91D647EE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75435519"/>
              </p:ext>
            </p:extLst>
          </p:nvPr>
        </p:nvGraphicFramePr>
        <p:xfrm>
          <a:off x="9504363" y="2054225"/>
          <a:ext cx="2290762" cy="2289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223" name="Espace réservé du texte 2">
            <a:extLst>
              <a:ext uri="{FF2B5EF4-FFF2-40B4-BE49-F238E27FC236}">
                <a16:creationId xmlns:a16="http://schemas.microsoft.com/office/drawing/2014/main" id="{84A01702-8DB0-42AE-9C4B-F8980921E94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648825" y="2654300"/>
            <a:ext cx="198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sz="1000" b="1" noProof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0,5</a:t>
            </a:r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2" name="Espace réservé du texte 2">
            <a:extLst>
              <a:ext uri="{FF2B5EF4-FFF2-40B4-BE49-F238E27FC236}">
                <a16:creationId xmlns:a16="http://schemas.microsoft.com/office/drawing/2014/main" id="{A5B439A7-DF17-413E-B1D8-A0ECCF4FE4C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053513" y="2236788"/>
            <a:ext cx="4476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1228CC2B-7A05-4819-9A8D-7FE434D1A597}" type="datetime'7''''3''''''''''''''7 F''''''''''''''''''''a''''m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37 Fam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1" name="Espace réservé du texte 2">
            <a:extLst>
              <a:ext uri="{FF2B5EF4-FFF2-40B4-BE49-F238E27FC236}">
                <a16:creationId xmlns:a16="http://schemas.microsoft.com/office/drawing/2014/main" id="{37A5F7BA-13A2-4C54-B62A-A9E8A6C14D4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305925" y="4006850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F1AAD77-5191-4649-BA09-04005EAED59B}" type="datetime'''''7''8''''''''''''7''''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8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3" name="Espace réservé du texte 2">
            <a:extLst>
              <a:ext uri="{FF2B5EF4-FFF2-40B4-BE49-F238E27FC236}">
                <a16:creationId xmlns:a16="http://schemas.microsoft.com/office/drawing/2014/main" id="{718627F3-50D9-4D97-80C1-DD26C7D4B8C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305925" y="2590800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031A3A7-738A-4836-9D0E-BB32DA6469E1}" type="datetime'7''''''''''''''''''''''''4''''7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4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4" name="Espace réservé du texte 2">
            <a:extLst>
              <a:ext uri="{FF2B5EF4-FFF2-40B4-BE49-F238E27FC236}">
                <a16:creationId xmlns:a16="http://schemas.microsoft.com/office/drawing/2014/main" id="{AFD30AB5-9152-4985-8BFC-2F06F5ADED9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305925" y="2944813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D250BE5-CF03-4CDF-88EE-BF4FDB089DFF}" type="datetime'''''76''''''''''''7''''''''''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6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0" name="Espace réservé du texte 2">
            <a:extLst>
              <a:ext uri="{FF2B5EF4-FFF2-40B4-BE49-F238E27FC236}">
                <a16:creationId xmlns:a16="http://schemas.microsoft.com/office/drawing/2014/main" id="{F294ACFE-BD76-4FF7-9600-C2A421E2AB2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05925" y="3298825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8C6899FF-114F-4FFC-8649-9BB808A6C06E}" type="datetime'''''''7''''''''''''''''''''7''''''''''''''''''''7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7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8" name="Espace réservé du texte 2">
            <a:extLst>
              <a:ext uri="{FF2B5EF4-FFF2-40B4-BE49-F238E27FC236}">
                <a16:creationId xmlns:a16="http://schemas.microsoft.com/office/drawing/2014/main" id="{B22116CF-A9AF-423C-893C-FDD7D90CA7D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9648825" y="2527300"/>
            <a:ext cx="1968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altLang="en-US" sz="100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0,5</a:t>
            </a:r>
            <a:endParaRPr lang="fr-FR" sz="1000" noProof="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AAD17029-FDDA-448C-BF13-577BA6F74FD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236075" y="3652838"/>
            <a:ext cx="265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53E3779-2DFD-448E-B7AD-544BAB77807E}" type="datetime'''''''''''''''''77''''''''7X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77X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3" name="Espace réservé du texte 2">
            <a:extLst>
              <a:ext uri="{FF2B5EF4-FFF2-40B4-BE49-F238E27FC236}">
                <a16:creationId xmlns:a16="http://schemas.microsoft.com/office/drawing/2014/main" id="{9C13A0BF-8AAB-40F5-B616-5172541DCF5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612313" y="3589338"/>
            <a:ext cx="100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BA95F53F-0A7E-4F5D-96B1-1B640FED070E}" type="datetime'''''''''''''''''''''''''''''''''''''''0'''''''''''''">
              <a:rPr lang="fr-FR" altLang="en-US" sz="1000" smtClean="0">
                <a:solidFill>
                  <a:schemeClr val="bg1">
                    <a:lumMod val="75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fr-FR" sz="1000" noProof="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5" name="Espace réservé du texte 2">
            <a:extLst>
              <a:ext uri="{FF2B5EF4-FFF2-40B4-BE49-F238E27FC236}">
                <a16:creationId xmlns:a16="http://schemas.microsoft.com/office/drawing/2014/main" id="{B5599E59-CBDC-41CE-84C4-A4570567329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612313" y="3716338"/>
            <a:ext cx="100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9CE3E7E5-1AB0-4F6E-A403-0A7CE66DD746}" type="datetime'''''''''0'''''">
              <a:rPr lang="fr-FR" altLang="en-US" sz="1000" b="1" smtClean="0"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8" name="ZoneTexte 177">
            <a:extLst>
              <a:ext uri="{FF2B5EF4-FFF2-40B4-BE49-F238E27FC236}">
                <a16:creationId xmlns:a16="http://schemas.microsoft.com/office/drawing/2014/main" id="{F48AE032-8349-4D23-AA1B-0CB2DFBBA03D}"/>
              </a:ext>
            </a:extLst>
          </p:cNvPr>
          <p:cNvSpPr txBox="1"/>
          <p:nvPr/>
        </p:nvSpPr>
        <p:spPr>
          <a:xfrm>
            <a:off x="10949711" y="4202646"/>
            <a:ext cx="1044575" cy="184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pic>
        <p:nvPicPr>
          <p:cNvPr id="183" name="Image 182">
            <a:extLst>
              <a:ext uri="{FF2B5EF4-FFF2-40B4-BE49-F238E27FC236}">
                <a16:creationId xmlns:a16="http://schemas.microsoft.com/office/drawing/2014/main" id="{0961CF9C-5EEE-4B4E-A048-A7BF5CDF0EB1}"/>
              </a:ext>
            </a:extLst>
          </p:cNvPr>
          <p:cNvPicPr>
            <a:picLocks/>
          </p:cNvPicPr>
          <p:nvPr/>
        </p:nvPicPr>
        <p:blipFill>
          <a:blip r:embed="rId32"/>
          <a:stretch>
            <a:fillRect/>
          </a:stretch>
        </p:blipFill>
        <p:spPr>
          <a:xfrm>
            <a:off x="6727825" y="1792288"/>
            <a:ext cx="684213" cy="455613"/>
          </a:xfrm>
          <a:prstGeom prst="rect">
            <a:avLst/>
          </a:prstGeom>
        </p:spPr>
      </p:pic>
      <p:pic>
        <p:nvPicPr>
          <p:cNvPr id="184" name="Image 183">
            <a:extLst>
              <a:ext uri="{FF2B5EF4-FFF2-40B4-BE49-F238E27FC236}">
                <a16:creationId xmlns:a16="http://schemas.microsoft.com/office/drawing/2014/main" id="{D03C2D69-7F94-4528-80D7-F007ADB06DA0}"/>
              </a:ext>
            </a:extLst>
          </p:cNvPr>
          <p:cNvPicPr>
            <a:picLocks/>
          </p:cNvPicPr>
          <p:nvPr/>
        </p:nvPicPr>
        <p:blipFill rotWithShape="1">
          <a:blip r:embed="rId33"/>
          <a:srcRect t="63342"/>
          <a:stretch/>
        </p:blipFill>
        <p:spPr>
          <a:xfrm>
            <a:off x="10120313" y="1936750"/>
            <a:ext cx="684213" cy="166688"/>
          </a:xfrm>
          <a:prstGeom prst="rect">
            <a:avLst/>
          </a:prstGeom>
        </p:spPr>
      </p:pic>
      <p:cxnSp>
        <p:nvCxnSpPr>
          <p:cNvPr id="185" name="Connecteur droit 184">
            <a:extLst>
              <a:ext uri="{FF2B5EF4-FFF2-40B4-BE49-F238E27FC236}">
                <a16:creationId xmlns:a16="http://schemas.microsoft.com/office/drawing/2014/main" id="{8E070C81-7978-4428-802F-E547D5658686}"/>
              </a:ext>
            </a:extLst>
          </p:cNvPr>
          <p:cNvCxnSpPr>
            <a:cxnSpLocks/>
          </p:cNvCxnSpPr>
          <p:nvPr/>
        </p:nvCxnSpPr>
        <p:spPr>
          <a:xfrm>
            <a:off x="8953500" y="1973263"/>
            <a:ext cx="0" cy="2159000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F0937B19-5489-4B9E-A69B-119AB1EA458D}"/>
              </a:ext>
            </a:extLst>
          </p:cNvPr>
          <p:cNvSpPr/>
          <p:nvPr/>
        </p:nvSpPr>
        <p:spPr>
          <a:xfrm>
            <a:off x="6011720" y="4455226"/>
            <a:ext cx="5981943" cy="1911747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49164E85-8617-4DC4-BD6B-C8C57128CE6D}"/>
              </a:ext>
            </a:extLst>
          </p:cNvPr>
          <p:cNvSpPr/>
          <p:nvPr/>
        </p:nvSpPr>
        <p:spPr bwMode="auto">
          <a:xfrm>
            <a:off x="6003205" y="4337353"/>
            <a:ext cx="5613400" cy="4413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rgbClr val="FA6414"/>
              </a:buClr>
            </a:pPr>
            <a:r>
              <a:rPr lang="fr-CA" sz="1100" b="1" kern="1400" dirty="0">
                <a:solidFill>
                  <a:srgbClr val="1A003B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ernières annonces</a:t>
            </a:r>
          </a:p>
        </p:txBody>
      </p:sp>
      <p:cxnSp>
        <p:nvCxnSpPr>
          <p:cNvPr id="101" name="Connecteur droit 100">
            <a:extLst>
              <a:ext uri="{FF2B5EF4-FFF2-40B4-BE49-F238E27FC236}">
                <a16:creationId xmlns:a16="http://schemas.microsoft.com/office/drawing/2014/main" id="{31F5732E-830B-4973-8237-9325C166A666}"/>
              </a:ext>
            </a:extLst>
          </p:cNvPr>
          <p:cNvCxnSpPr>
            <a:cxnSpLocks/>
          </p:cNvCxnSpPr>
          <p:nvPr/>
        </p:nvCxnSpPr>
        <p:spPr>
          <a:xfrm>
            <a:off x="9240889" y="4925091"/>
            <a:ext cx="0" cy="1404000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Image 101">
            <a:extLst>
              <a:ext uri="{FF2B5EF4-FFF2-40B4-BE49-F238E27FC236}">
                <a16:creationId xmlns:a16="http://schemas.microsoft.com/office/drawing/2014/main" id="{ADAB5243-799D-430E-968D-3F885EFE4B0F}"/>
              </a:ext>
            </a:extLst>
          </p:cNvPr>
          <p:cNvPicPr>
            <a:picLocks/>
          </p:cNvPicPr>
          <p:nvPr/>
        </p:nvPicPr>
        <p:blipFill>
          <a:blip r:embed="rId32"/>
          <a:stretch>
            <a:fillRect/>
          </a:stretch>
        </p:blipFill>
        <p:spPr>
          <a:xfrm>
            <a:off x="7034422" y="4578852"/>
            <a:ext cx="684213" cy="441448"/>
          </a:xfrm>
          <a:prstGeom prst="rect">
            <a:avLst/>
          </a:prstGeom>
        </p:spPr>
      </p:pic>
      <p:pic>
        <p:nvPicPr>
          <p:cNvPr id="103" name="Image 102">
            <a:extLst>
              <a:ext uri="{FF2B5EF4-FFF2-40B4-BE49-F238E27FC236}">
                <a16:creationId xmlns:a16="http://schemas.microsoft.com/office/drawing/2014/main" id="{796BCA53-CE98-4823-A0B6-E73339B26374}"/>
              </a:ext>
            </a:extLst>
          </p:cNvPr>
          <p:cNvPicPr>
            <a:picLocks/>
          </p:cNvPicPr>
          <p:nvPr/>
        </p:nvPicPr>
        <p:blipFill rotWithShape="1">
          <a:blip r:embed="rId33"/>
          <a:srcRect t="63342"/>
          <a:stretch/>
        </p:blipFill>
        <p:spPr>
          <a:xfrm>
            <a:off x="9454063" y="4789397"/>
            <a:ext cx="684213" cy="166688"/>
          </a:xfrm>
          <a:prstGeom prst="rect">
            <a:avLst/>
          </a:prstGeom>
        </p:spPr>
      </p:pic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D61B3765-AA7C-46B6-9B34-B8DC253EF02B}"/>
              </a:ext>
            </a:extLst>
          </p:cNvPr>
          <p:cNvCxnSpPr/>
          <p:nvPr/>
        </p:nvCxnSpPr>
        <p:spPr>
          <a:xfrm flipV="1">
            <a:off x="238898" y="1717516"/>
            <a:ext cx="5112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Connecteur droit 270">
            <a:extLst>
              <a:ext uri="{FF2B5EF4-FFF2-40B4-BE49-F238E27FC236}">
                <a16:creationId xmlns:a16="http://schemas.microsoft.com/office/drawing/2014/main" id="{43995405-9F1C-413F-BAE8-4B292BEE38A3}"/>
              </a:ext>
            </a:extLst>
          </p:cNvPr>
          <p:cNvCxnSpPr/>
          <p:nvPr/>
        </p:nvCxnSpPr>
        <p:spPr>
          <a:xfrm flipV="1">
            <a:off x="6096000" y="1717516"/>
            <a:ext cx="3420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Connecteur droit 271">
            <a:extLst>
              <a:ext uri="{FF2B5EF4-FFF2-40B4-BE49-F238E27FC236}">
                <a16:creationId xmlns:a16="http://schemas.microsoft.com/office/drawing/2014/main" id="{0B8BD528-A892-4230-812F-CE7BBF389505}"/>
              </a:ext>
            </a:extLst>
          </p:cNvPr>
          <p:cNvCxnSpPr/>
          <p:nvPr/>
        </p:nvCxnSpPr>
        <p:spPr>
          <a:xfrm flipV="1">
            <a:off x="6035675" y="4659155"/>
            <a:ext cx="1332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ZoneTexte 272">
            <a:extLst>
              <a:ext uri="{FF2B5EF4-FFF2-40B4-BE49-F238E27FC236}">
                <a16:creationId xmlns:a16="http://schemas.microsoft.com/office/drawing/2014/main" id="{ECCFAE51-245D-4D55-81AD-B97B1FD81D3E}"/>
              </a:ext>
            </a:extLst>
          </p:cNvPr>
          <p:cNvSpPr txBox="1"/>
          <p:nvPr/>
        </p:nvSpPr>
        <p:spPr>
          <a:xfrm>
            <a:off x="11009092" y="6201030"/>
            <a:ext cx="1044575" cy="184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sp>
        <p:nvSpPr>
          <p:cNvPr id="274" name="ZoneTexte 273">
            <a:extLst>
              <a:ext uri="{FF2B5EF4-FFF2-40B4-BE49-F238E27FC236}">
                <a16:creationId xmlns:a16="http://schemas.microsoft.com/office/drawing/2014/main" id="{77D109C9-1C0C-4449-984E-E7DA0AA3F340}"/>
              </a:ext>
            </a:extLst>
          </p:cNvPr>
          <p:cNvSpPr txBox="1"/>
          <p:nvPr/>
        </p:nvSpPr>
        <p:spPr>
          <a:xfrm>
            <a:off x="4724401" y="6199399"/>
            <a:ext cx="125726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estimations internes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EC6758B0-B622-4FC5-A398-E5DF4655F1C2}"/>
              </a:ext>
            </a:extLst>
          </p:cNvPr>
          <p:cNvSpPr txBox="1"/>
          <p:nvPr/>
        </p:nvSpPr>
        <p:spPr>
          <a:xfrm>
            <a:off x="9290079" y="5029368"/>
            <a:ext cx="2972722" cy="610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2"/>
                </a:solidFill>
              </a:rPr>
              <a:t>777/777X (info Boeing)</a:t>
            </a:r>
          </a:p>
          <a:p>
            <a:pPr marL="447675" indent="-87313"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›"/>
            </a:pPr>
            <a:r>
              <a:rPr lang="fr-FR" sz="900" dirty="0">
                <a:solidFill>
                  <a:schemeClr val="tx2"/>
                </a:solidFill>
              </a:rPr>
              <a:t>Moyenne annuelle de 3 AC/mois en 2022</a:t>
            </a:r>
          </a:p>
          <a:p>
            <a:pPr marL="447675" indent="-87313"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›"/>
            </a:pPr>
            <a:r>
              <a:rPr lang="fr-FR" sz="900" dirty="0">
                <a:solidFill>
                  <a:schemeClr val="tx2"/>
                </a:solidFill>
              </a:rPr>
              <a:t>3 777X prévus en 2022 et 10 en 2023</a:t>
            </a:r>
          </a:p>
        </p:txBody>
      </p:sp>
      <p:sp>
        <p:nvSpPr>
          <p:cNvPr id="132" name="ZoneTexte 131">
            <a:extLst>
              <a:ext uri="{FF2B5EF4-FFF2-40B4-BE49-F238E27FC236}">
                <a16:creationId xmlns:a16="http://schemas.microsoft.com/office/drawing/2014/main" id="{668BAAB6-FE9E-4B39-B5A2-66A5322C6850}"/>
              </a:ext>
            </a:extLst>
          </p:cNvPr>
          <p:cNvSpPr txBox="1"/>
          <p:nvPr/>
        </p:nvSpPr>
        <p:spPr>
          <a:xfrm>
            <a:off x="5981662" y="4922062"/>
            <a:ext cx="34123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A320 (rate moyen)  : </a:t>
            </a:r>
            <a:r>
              <a:rPr lang="fr-FR" sz="800" dirty="0">
                <a:solidFill>
                  <a:schemeClr val="tx2"/>
                </a:solidFill>
              </a:rPr>
              <a:t>2022 : 52 AC/mois (54 AC/mois en Q4)</a:t>
            </a:r>
          </a:p>
          <a:p>
            <a:pPr marL="360362">
              <a:buClr>
                <a:schemeClr val="accent5"/>
              </a:buClr>
            </a:pPr>
            <a:r>
              <a:rPr lang="fr-FR" sz="800" dirty="0">
                <a:solidFill>
                  <a:schemeClr val="tx2"/>
                </a:solidFill>
              </a:rPr>
              <a:t>                       2023 : 63 AC/mois (66 AC/mois en Q4)</a:t>
            </a:r>
          </a:p>
          <a:p>
            <a:pPr marL="360362">
              <a:buClr>
                <a:schemeClr val="accent5"/>
              </a:buClr>
            </a:pPr>
            <a:r>
              <a:rPr lang="fr-FR" sz="800" dirty="0">
                <a:solidFill>
                  <a:schemeClr val="tx2"/>
                </a:solidFill>
              </a:rPr>
              <a:t>                       2024 : 71 AC/mois</a:t>
            </a:r>
          </a:p>
        </p:txBody>
      </p:sp>
      <p:sp>
        <p:nvSpPr>
          <p:cNvPr id="134" name="ZoneTexte 133">
            <a:extLst>
              <a:ext uri="{FF2B5EF4-FFF2-40B4-BE49-F238E27FC236}">
                <a16:creationId xmlns:a16="http://schemas.microsoft.com/office/drawing/2014/main" id="{A644C5C1-3577-4C2D-941C-1D2455CA5690}"/>
              </a:ext>
            </a:extLst>
          </p:cNvPr>
          <p:cNvSpPr txBox="1"/>
          <p:nvPr/>
        </p:nvSpPr>
        <p:spPr>
          <a:xfrm>
            <a:off x="5981662" y="5367895"/>
            <a:ext cx="29727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A220 (rate moyen) : </a:t>
            </a:r>
            <a:r>
              <a:rPr lang="fr-FR" sz="800" dirty="0">
                <a:solidFill>
                  <a:schemeClr val="tx2"/>
                </a:solidFill>
              </a:rPr>
              <a:t>2022 : 6 AC/mois </a:t>
            </a:r>
          </a:p>
          <a:p>
            <a:pPr marL="360362">
              <a:buClr>
                <a:schemeClr val="accent5"/>
              </a:buClr>
            </a:pPr>
            <a:r>
              <a:rPr lang="fr-FR" sz="800" dirty="0">
                <a:solidFill>
                  <a:schemeClr val="tx2"/>
                </a:solidFill>
              </a:rPr>
              <a:t>                      2023 : 9 AC/mois</a:t>
            </a:r>
          </a:p>
          <a:p>
            <a:pPr marL="360362">
              <a:buClr>
                <a:schemeClr val="accent5"/>
              </a:buClr>
            </a:pPr>
            <a:r>
              <a:rPr lang="fr-FR" sz="800" dirty="0">
                <a:solidFill>
                  <a:schemeClr val="tx2"/>
                </a:solidFill>
              </a:rPr>
              <a:t>                      2024 : 11 AC/mois</a:t>
            </a:r>
          </a:p>
          <a:p>
            <a:pPr marL="360362">
              <a:buClr>
                <a:schemeClr val="accent5"/>
              </a:buClr>
            </a:pPr>
            <a:r>
              <a:rPr lang="fr-FR" sz="800" dirty="0">
                <a:solidFill>
                  <a:schemeClr val="tx2"/>
                </a:solidFill>
              </a:rPr>
              <a:t>                      2025 : 13 AC/mois</a:t>
            </a:r>
          </a:p>
        </p:txBody>
      </p:sp>
      <p:sp>
        <p:nvSpPr>
          <p:cNvPr id="135" name="ZoneTexte 134">
            <a:extLst>
              <a:ext uri="{FF2B5EF4-FFF2-40B4-BE49-F238E27FC236}">
                <a16:creationId xmlns:a16="http://schemas.microsoft.com/office/drawing/2014/main" id="{9D0EB6F1-497D-4C6F-8BDD-8BDE253AD6DF}"/>
              </a:ext>
            </a:extLst>
          </p:cNvPr>
          <p:cNvSpPr txBox="1"/>
          <p:nvPr/>
        </p:nvSpPr>
        <p:spPr>
          <a:xfrm>
            <a:off x="5981662" y="6136451"/>
            <a:ext cx="29727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A350  :  </a:t>
            </a:r>
            <a:r>
              <a:rPr lang="fr-FR" sz="800" dirty="0">
                <a:solidFill>
                  <a:schemeClr val="tx2"/>
                </a:solidFill>
              </a:rPr>
              <a:t>2022 : 5 AC/mois puis 6/AC mois à partir de 2023</a:t>
            </a:r>
          </a:p>
        </p:txBody>
      </p:sp>
      <p:sp>
        <p:nvSpPr>
          <p:cNvPr id="136" name="ZoneTexte 135">
            <a:extLst>
              <a:ext uri="{FF2B5EF4-FFF2-40B4-BE49-F238E27FC236}">
                <a16:creationId xmlns:a16="http://schemas.microsoft.com/office/drawing/2014/main" id="{8BC96117-417D-4BE9-B527-05498D99974F}"/>
              </a:ext>
            </a:extLst>
          </p:cNvPr>
          <p:cNvSpPr txBox="1"/>
          <p:nvPr/>
        </p:nvSpPr>
        <p:spPr>
          <a:xfrm>
            <a:off x="5981662" y="5936838"/>
            <a:ext cx="29727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A330  :  </a:t>
            </a:r>
            <a:r>
              <a:rPr lang="fr-FR" sz="800" dirty="0">
                <a:solidFill>
                  <a:schemeClr val="tx2"/>
                </a:solidFill>
              </a:rPr>
              <a:t>2022 : 2 AC/mois puis 3/AC mois à partir de 2023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606CF62E-C208-4D8C-9BC1-C3A0985240AB}"/>
              </a:ext>
            </a:extLst>
          </p:cNvPr>
          <p:cNvSpPr txBox="1"/>
          <p:nvPr/>
        </p:nvSpPr>
        <p:spPr>
          <a:xfrm>
            <a:off x="7744005" y="4665092"/>
            <a:ext cx="8510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1000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g</a:t>
            </a:r>
            <a:r>
              <a:rPr lang="fr-FR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#130)</a:t>
            </a:r>
          </a:p>
        </p:txBody>
      </p:sp>
      <p:pic>
        <p:nvPicPr>
          <p:cNvPr id="68" name="Image 67">
            <a:extLst>
              <a:ext uri="{FF2B5EF4-FFF2-40B4-BE49-F238E27FC236}">
                <a16:creationId xmlns:a16="http://schemas.microsoft.com/office/drawing/2014/main" id="{AB529B68-BFC3-4AF5-B7BE-00B950398376}"/>
              </a:ext>
            </a:extLst>
          </p:cNvPr>
          <p:cNvPicPr>
            <a:picLocks noChangeAspect="1"/>
          </p:cNvPicPr>
          <p:nvPr/>
        </p:nvPicPr>
        <p:blipFill rotWithShape="1">
          <a:blip r:embed="rId34"/>
          <a:srcRect l="8561"/>
          <a:stretch/>
        </p:blipFill>
        <p:spPr>
          <a:xfrm>
            <a:off x="187091" y="1805882"/>
            <a:ext cx="5651582" cy="4316762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928652E2-F800-40F7-B057-362097891251}"/>
              </a:ext>
            </a:extLst>
          </p:cNvPr>
          <p:cNvSpPr txBox="1"/>
          <p:nvPr/>
        </p:nvSpPr>
        <p:spPr>
          <a:xfrm>
            <a:off x="10727938" y="3144958"/>
            <a:ext cx="11445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i="1" dirty="0">
                <a:solidFill>
                  <a:schemeClr val="tx2"/>
                </a:solidFill>
              </a:rPr>
              <a:t>777/777X : mise à jour selon les prévisions de production planifiées par Boeing</a:t>
            </a:r>
          </a:p>
        </p:txBody>
      </p:sp>
    </p:spTree>
    <p:extLst>
      <p:ext uri="{BB962C8B-B14F-4D97-AF65-F5344CB8AC3E}">
        <p14:creationId xmlns:p14="http://schemas.microsoft.com/office/powerpoint/2010/main" val="6691698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E7DA7668-F055-4F95-BFC7-13B8944E8B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E7DA7668-F055-4F95-BFC7-13B8944E8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014238A3-36EC-4E98-A577-C0177F492E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5EB0EC0-0933-4992-8D7A-15F7F1CE6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1 : Cadence moyenne mensuelle FAL 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C6CCB95-1F50-4BA4-B4AB-560C54020EA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E277686-3CB4-4845-812A-CD9C4BBFEC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6</a:t>
            </a:fld>
            <a:endParaRPr lang="fr-FR" dirty="0"/>
          </a:p>
        </p:txBody>
      </p:sp>
      <p:pic>
        <p:nvPicPr>
          <p:cNvPr id="30" name="Image 31">
            <a:extLst>
              <a:ext uri="{FF2B5EF4-FFF2-40B4-BE49-F238E27FC236}">
                <a16:creationId xmlns:a16="http://schemas.microsoft.com/office/drawing/2014/main" id="{F17B410F-FC81-451A-BCA1-8E145F3D36C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028F9A50-9264-4D88-B30E-9A2C0A44EF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806" y="3625389"/>
            <a:ext cx="2272923" cy="11997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rmAutofit/>
          </a:bodyPr>
          <a:lstStyle/>
          <a:p>
            <a:r>
              <a:rPr lang="fr-FR" sz="16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uble-cliquer sur le tableau pour accéder au filtre</a:t>
            </a:r>
          </a:p>
        </p:txBody>
      </p:sp>
      <p:graphicFrame>
        <p:nvGraphicFramePr>
          <p:cNvPr id="4" name="Objet 3">
            <a:extLst>
              <a:ext uri="{FF2B5EF4-FFF2-40B4-BE49-F238E27FC236}">
                <a16:creationId xmlns:a16="http://schemas.microsoft.com/office/drawing/2014/main" id="{7B0F6F37-CB9C-44C0-A89C-1E64EE1EE31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98033248"/>
              </p:ext>
            </p:extLst>
          </p:nvPr>
        </p:nvGraphicFramePr>
        <p:xfrm>
          <a:off x="911423" y="1120246"/>
          <a:ext cx="9709563" cy="50102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13163507" imgH="6791210" progId="Excel.Sheet.12">
                  <p:embed/>
                </p:oleObj>
              </mc:Choice>
              <mc:Fallback>
                <p:oleObj name="Worksheet" r:id="rId8" imgW="13163507" imgH="6791210" progId="Excel.Sheet.12">
                  <p:embed/>
                  <p:pic>
                    <p:nvPicPr>
                      <p:cNvPr id="4" name="Objet 3">
                        <a:extLst>
                          <a:ext uri="{FF2B5EF4-FFF2-40B4-BE49-F238E27FC236}">
                            <a16:creationId xmlns:a16="http://schemas.microsoft.com/office/drawing/2014/main" id="{7B0F6F37-CB9C-44C0-A89C-1E64EE1EE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11423" y="1120246"/>
                        <a:ext cx="9709563" cy="50102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2258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7387BF00-5B9D-4403-A3F3-153C68A44B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615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7387BF00-5B9D-4403-A3F3-153C68A44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CAAD1A-4DDC-49BE-9780-6C6022A863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7DA671E3-E682-4B30-8BFE-0AE634B17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2 : Nb d’avions livrés par mois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CC6CF90-4490-47BC-B438-06C3F0707D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03445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677E086-CC59-4E36-AB9B-BD096D1F93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7</a:t>
            </a:fld>
            <a:endParaRPr lang="fr-FR" dirty="0"/>
          </a:p>
        </p:txBody>
      </p:sp>
      <p:pic>
        <p:nvPicPr>
          <p:cNvPr id="13" name="Image 31">
            <a:extLst>
              <a:ext uri="{FF2B5EF4-FFF2-40B4-BE49-F238E27FC236}">
                <a16:creationId xmlns:a16="http://schemas.microsoft.com/office/drawing/2014/main" id="{FB0D4C9F-BFA7-477B-A44B-65C65F5A38A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231231A0-5307-4A7E-8CB0-0897B94BA61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0138640"/>
              </p:ext>
            </p:extLst>
          </p:nvPr>
        </p:nvGraphicFramePr>
        <p:xfrm>
          <a:off x="1594" y="2292350"/>
          <a:ext cx="12154708" cy="33947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16135479" imgH="4505210" progId="Excel.Sheet.12">
                  <p:embed/>
                </p:oleObj>
              </mc:Choice>
              <mc:Fallback>
                <p:oleObj name="Worksheet" r:id="rId7" imgW="16135479" imgH="4505210" progId="Excel.Sheet.12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231231A0-5307-4A7E-8CB0-0897B94BA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4" y="2292350"/>
                        <a:ext cx="12154708" cy="33947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32186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46297289-D89A-4022-863D-9CAFB2B950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948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46297289-D89A-4022-863D-9CAFB2B950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D7EA698-E32C-4816-AB17-1E3C0A14BA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1E85521E-3BC9-4E46-AD00-ECED7A465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3 : Nb d’avions commandés (et annulés) par mois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25995B7-B492-4831-8114-3A3724BB78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6E228E0-F2C9-40BB-A5F1-B384425D6C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8</a:t>
            </a:fld>
            <a:endParaRPr lang="fr-FR" dirty="0"/>
          </a:p>
        </p:txBody>
      </p:sp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A5DCCC00-003A-4BB4-BEED-C89478EDFE9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42095439"/>
              </p:ext>
            </p:extLst>
          </p:nvPr>
        </p:nvGraphicFramePr>
        <p:xfrm>
          <a:off x="2553629" y="1833506"/>
          <a:ext cx="6878328" cy="39339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8143940" imgH="4657725" progId="Excel.Sheet.12">
                  <p:embed/>
                </p:oleObj>
              </mc:Choice>
              <mc:Fallback>
                <p:oleObj name="Worksheet" r:id="rId6" imgW="8143940" imgH="4657725" progId="Excel.Sheet.12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A5DCCC00-003A-4BB4-BEED-C89478EDFE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553629" y="1833506"/>
                        <a:ext cx="6878328" cy="39339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49572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B56FB8D4-6CD3-4855-9504-D34C48199A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750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B56FB8D4-6CD3-4855-9504-D34C48199A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335AC3-6BAB-4119-A38E-88A1480EB10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3F6C8516-1C37-4F88-9BE5-EC9DFD5E9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4 : Evolution du carnet de commandes Airbus/Boeing 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D22DD85-AC81-4544-86A0-A27E8C74E4B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Janvier 2022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DE35B5E-9114-4913-9822-486992F225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16" name="Image 31">
            <a:extLst>
              <a:ext uri="{FF2B5EF4-FFF2-40B4-BE49-F238E27FC236}">
                <a16:creationId xmlns:a16="http://schemas.microsoft.com/office/drawing/2014/main" id="{D316BC77-F9F1-4536-AE08-A90F6E4C7F1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graphicFrame>
        <p:nvGraphicFramePr>
          <p:cNvPr id="2" name="Objet 1">
            <a:extLst>
              <a:ext uri="{FF2B5EF4-FFF2-40B4-BE49-F238E27FC236}">
                <a16:creationId xmlns:a16="http://schemas.microsoft.com/office/drawing/2014/main" id="{22AC36B1-2271-435C-9DDA-E0FAB3EDC6A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67957854"/>
              </p:ext>
            </p:extLst>
          </p:nvPr>
        </p:nvGraphicFramePr>
        <p:xfrm>
          <a:off x="3468261" y="1428954"/>
          <a:ext cx="5255477" cy="44539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6057814" imgH="5133860" progId="Excel.Sheet.12">
                  <p:embed/>
                </p:oleObj>
              </mc:Choice>
              <mc:Fallback>
                <p:oleObj name="Worksheet" r:id="rId7" imgW="6057814" imgH="5133860" progId="Excel.Sheet.12">
                  <p:embed/>
                  <p:pic>
                    <p:nvPicPr>
                      <p:cNvPr id="2" name="Objet 1">
                        <a:extLst>
                          <a:ext uri="{FF2B5EF4-FFF2-40B4-BE49-F238E27FC236}">
                            <a16:creationId xmlns:a16="http://schemas.microsoft.com/office/drawing/2014/main" id="{22AC36B1-2271-435C-9DDA-E0FAB3EDC6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468261" y="1428954"/>
                        <a:ext cx="5255477" cy="44539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2461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DIVIDERS_STYLE_TAG" val="POWER_USER_LAYOUT_DIVIDER"/>
  <p:tag name="POWER_USER_PPT_AGENDA_PRESENTATION_COLOR_TAG" val="#FBF315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2.36609999999999986997E+00&quot;&gt;&lt;m_msothmcolidx val=&quot;0&quot;/&gt;&lt;m_rgb r=&quot;44&quot; g=&quot;54&quot; b=&quot;6A&quot;/&gt;&lt;/elem&gt;&lt;elem m_fUsage=&quot;1.80002107073961026273E+00&quot;&gt;&lt;m_msothmcolidx val=&quot;0&quot;/&gt;&lt;m_rgb r=&quot;CE&quot; g=&quot;D0&quot; b=&quot;E1&quot;/&gt;&lt;/elem&gt;&lt;elem m_fUsage=&quot;1.65854711931390008672E+00&quot;&gt;&lt;m_msothmcolidx val=&quot;0&quot;/&gt;&lt;m_rgb r=&quot;FD&quot; g=&quot;C1&quot; b=&quot;A1&quot;/&gt;&lt;/elem&gt;&lt;elem m_fUsage=&quot;1.00000000000000000000E+00&quot;&gt;&lt;m_msothmcolidx val=&quot;0&quot;/&gt;&lt;m_rgb r=&quot;B6&quot; g=&quot;B8&quot; b=&quot;D1&quot;/&gt;&lt;/elem&gt;&lt;elem m_fUsage=&quot;7.29000000000000092371E-01&quot;&gt;&lt;m_msothmcolidx val=&quot;0&quot;/&gt;&lt;m_rgb r=&quot;3C&quot; g=&quot;3F&quot; b=&quot;60&quot;/&gt;&lt;/elem&gt;&lt;elem m_fUsage=&quot;3.87420489000000145552E-01&quot;&gt;&lt;m_msothmcolidx val=&quot;0&quot;/&gt;&lt;m_rgb r=&quot;5A&quot; g=&quot;5F&quot; b=&quot;90&quot;/&gt;&lt;/elem&gt;&lt;elem m_fUsage=&quot;2.05891132094649098594E-01&quot;&gt;&lt;m_msothmcolidx val=&quot;0&quot;/&gt;&lt;m_rgb r=&quot;47&quot; g=&quot;4C&quot; b=&quot;8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Gbg7IABN0lxp1M4uz42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HbTKdC3g7N3eDzCbEmq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W2r8eBhSHQJ4KXWI0rn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D82989D_5F57_452D_BF2D_E24D8073E52D&quot;,&quot;SourceFullName&quot;:&quot;https://erametgroup-my.sharepoint.com/personal/sandrine_provenchere_eramet_com/Documents/06_DASHBOARD/Dashboard-Suivi-Mensuel-Aero/DASHBOARD/2022/2022_Dashboard_marché-AERO.xlsx&quot;,&quot;LastUpdate&quot;:&quot;2022-02-15 7:39 PM&quot;,&quot;UpdatedBy&quot;:&quot;sandrine.provenchere&quot;,&quot;IsLinked&quot;:false,&quot;IsBrokenLink&quot;:false,&quot;Type&quot;:1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DE3F5426_AC77_40A6_A573_2B11BD41E13D&quot;,&quot;SourceFullName&quot;:&quot;https://erametgroup-my.sharepoint.com/personal/sandrine_provenchere_eramet_com/Documents/06_DASHBOARD/Dashboard-Suivi-Mensuel-Aero/DASHBOARD/2022/2022_Dashboard_marché-AERO.xlsx&quot;,&quot;LastUpdate&quot;:&quot;2022-02-15 7:46 PM&quot;,&quot;UpdatedBy&quot;:&quot;sandrine.provenchere&quot;,&quot;IsLinked&quot;:false,&quot;IsBrokenLink&quot;:false,&quot;Type&quot;:1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mi2npsQTMgYnj3l2U_o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.wLExhF5ZlfkInVcFQJ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GROB8TpLTOwpQGNmn_L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ROotqri0clbxqFMBtk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.JIUhJmjYzuzrtdZaM1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bTEsUutV4n7mv4HsNom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ZwW_SZqqgO0sNenw4XB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iK01dYwjTbmCF2u1HT7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AbTk8JSxveMVLEI4tCh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wvgxrdcnN80oaPifVs4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FBUjP7vAaDMx7g5s3tR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7cJRZ1OoljkpMH4icx_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rGxFiwPhyzVdi2iMsam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rwL4dU2NDgvvUO_DJET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lzW5U0rqHnI4pfy_En7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m6ibuuJ0A_zoGu44.X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O1DgE8vDzAzBv1LTrn1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tZxd.U7lrhIcXOrCpUl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4owzGE2h51st_vAotzN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OwKbcsHA8qE0PyNb6rT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yG0eQ6dy7V8SUEikIy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E5PzBgNqU7yXSyVR7Vm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iZr8HH0fJTEw7ZH2dZf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STICKY_NOTES" val="POWER_USER_STICKY_NOTES"/>
  <p:tag name="POWER_USER_CONTEXTUAL_SHAPES_TAG" val="POWER_USER_CONTEXTUAL_SHAPES_STICKY_NOTES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uI4kgGX4pJ1ZI8v9X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eYcfAC0_s4_1Bler8wD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_nEq7R4.V1.gWnHMgoN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GpjgE5BDd1u0Dl_yJP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LR48BPYuboqUDk3gb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D2ECF21D_6B00_4B88_BE9E_71ADE60FFEA0&quot;,&quot;SourceFullName&quot;:&quot;https://erametgroup-my.sharepoint.com/personal/sandrine_provenchere_eramet_com/Documents/06_DASHBOARD/Dashboard-Suivi-Mensuel-Aero/DASHBOARD/FlotteAero_ActivitéMensuelle.xlsx&quot;,&quot;LastUpdate&quot;:&quot;2022-02-15 4:37 PM&quot;,&quot;UpdatedBy&quot;:&quot;sandrine.provenchere&quot;,&quot;IsLinked&quot;:false,&quot;IsBrokenLink&quot;:false,&quot;Type&quot;:1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87A56DB_CC7F_4DD5_A2B2_A84C39CD00AB&quot;,&quot;SourceFullName&quot;:&quot;https://erametgroup-my.sharepoint.com/personal/sandrine_provenchere_eramet_com/Documents/06_DASHBOARD/Dashboard-Suivi-Mensuel-Aero/DASHBOARD/2022/number-of-commercial-flight_2022.xlsx&quot;,&quot;LastUpdate&quot;:&quot;2022-02-15 4:54 PM&quot;,&quot;UpdatedBy&quot;:&quot;sandrine.provenchere&quot;,&quot;IsLinked&quot;:false,&quot;IsBrokenLink&quot;:false,&quot;Type&quot;:1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Dashboard_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DjobRa9EhnWagM7rxI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EYAQFqdvDnBR38AOJj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Sdk3aVWJLmj83Xj4LP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RwD3pUx0yq4b.lMaYy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nwbDusQKb2g21nbxT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vQ.ieuppO8du0OLeYb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l4Jbs8OXyQqO3keumD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6RHhtrT_IH.fk5OSmT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tXG0NwWKjLdGYR40r3A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zdg3esHNyKT5IpA87A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kGcSJiMf7UKHNMYlIg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5jEqWZaMfHIaNTRnr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QkTPCrrQZDQoBxbPcN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m9_4gt8sdkFmNjcUUD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1joY1.cQvY1wrRP.My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zEoVgM18IbToRMSWqt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9.Hi14Klv.f9OiRjGFQ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FIxEe0xNYFstyqJ_57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HDAcIJyrkQpsduz2c06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IDCxPFh_K1rVV4M_k2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xfI0HbEPOCrEpv7Crq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tFAgrsYNa1jZBeDQWuz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zmql3qBXl.iK3GT4X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UObIUO5ufT36v8Z9_s0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4c8YtZe3pnXZH8KO.J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s_hC4gH8A2zxbpI9fz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1miFJOd6eE7j30ULv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QK1SWAmoiyaXjRpnnc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OW.b7K4UTftk73.DBw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mSGS0nhAraqQ.6Y79K9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7mOotx.RXHyIKHVPg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6lf94n62fMa1AtmGsg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aGsN.BC5OipBMg0.JVC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VwL_4ZJsn0g8_0t5kRJ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lCwmo4JRsrbx1xGHtJ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sQbSkxUnS2novxBsB.X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rLZx8CJm.nq1qvMh0u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qDUCy7JRSMExnQdLToe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oAEI6sqiG1DIQso6jm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jXye5Oygb.USJSzTmN6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3PwxBSD8W4V12wfe3ed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CFH6MYW8XcgeWnLNbd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I9OKN.L6tsnK1TgwwL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z3llBIT0Bmekyg6QNNz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xePF3aUMzGsxtuPBEV4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onRe3bWmFGsIa_9iWSp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EA1Vos8TLFgUsIUbar6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7yEtV43dPFEDWQY6uz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gjeVGNQaLaDkx9FuPJ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rIJb2VtaxzrcHO1OJqj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9FH9fEh.uhVooaKJQCq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J56vnG1Mr6mzQfDAYL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IL89Q6QUQP_zX1vZdI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JLt2CqGlpCq34SREDIr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1HvnuqELUl_oh2pkRnp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kTOkGoVZ31cpAULReVn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KbrKUBN8QXGirvQbLoi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_hflqCW3_dFgmNQEn_F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rZhIJF.nmJumUt_J.C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ORWcOVcNMmP3D_TL2nh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Fx2yjwbI3IaObByF9i7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SwSojszVyduJLlYHVF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NwDLhgWlTHs03QMnDQK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l69Yv9PNykQ1ewaw2p0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9qsyslymyyL57ullJdU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CcjOyFehX.60nSFomOt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s6_4EnqOmqsT9W4WVl1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xsCzS6m4FnVfqIKdfPK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e_uOPlF8gwG9dtwDv0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0PKYY_k5rhLXp8c92j4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wdHhsJ1ltNpBGmRQACe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HLt3x3ux2wjkV5uxyL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48o7dSTbfjjUmePjudX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tql_MmOCN_qUi8F_Eg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PyPry6Mc8tLJvRtviWs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vDiaTs3kydWY0wEn2o.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UAIbPjBjRz0DZS2Is30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KEXR7U2xIyUGhw07YxP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crUj4jl47apFNnPrSzL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H8Xc4L4lhnJGoLxXu2_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REWYtzpyRgoy4OJTuv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p1DnJE4xlLNLP61cHJ4Q"/>
</p:tagLst>
</file>

<file path=ppt/theme/theme1.xml><?xml version="1.0" encoding="utf-8"?>
<a:theme xmlns:a="http://schemas.openxmlformats.org/drawingml/2006/main" name="Default Theme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2E9707B0-AFAD-4E37-83B2-65E56D92304B}" vid="{56E404CF-8FED-452B-B090-8A2F0CF3A5F2}"/>
    </a:ext>
  </a:extLst>
</a:theme>
</file>

<file path=ppt/theme/theme2.xml><?xml version="1.0" encoding="utf-8"?>
<a:theme xmlns:a="http://schemas.openxmlformats.org/drawingml/2006/main" name="1_AUBERT&amp;DUVAL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869ED258-25C0-47E6-944C-BF97BD6B4D0D}"/>
    </a:ext>
  </a:extLst>
</a:theme>
</file>

<file path=ppt/theme/theme3.xml><?xml version="1.0" encoding="utf-8"?>
<a:theme xmlns:a="http://schemas.openxmlformats.org/drawingml/2006/main" name="2_ERASTEEL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54DB7B35-2F85-4150-AA57-186F44BF3FE3}"/>
    </a:ext>
  </a:extLst>
</a:theme>
</file>

<file path=ppt/theme/theme4.xml><?xml version="1.0" encoding="utf-8"?>
<a:theme xmlns:a="http://schemas.openxmlformats.org/drawingml/2006/main" name="3_AD+ES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5278248A-07DD-46FD-9847-6640A84025F1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A1912B6E11934E8B096E7A522338B1" ma:contentTypeVersion="13" ma:contentTypeDescription="Crée un document." ma:contentTypeScope="" ma:versionID="0df7c930c89d9d3ded91cb53357a94ff">
  <xsd:schema xmlns:xsd="http://www.w3.org/2001/XMLSchema" xmlns:xs="http://www.w3.org/2001/XMLSchema" xmlns:p="http://schemas.microsoft.com/office/2006/metadata/properties" xmlns:ns3="fb1e9980-ab61-411d-9d15-db2b543af212" xmlns:ns4="e2436d64-00a3-42ad-a3b6-20599c347650" targetNamespace="http://schemas.microsoft.com/office/2006/metadata/properties" ma:root="true" ma:fieldsID="7ead3512816d8b38e985b854c6afc7d7" ns3:_="" ns4:_="">
    <xsd:import namespace="fb1e9980-ab61-411d-9d15-db2b543af212"/>
    <xsd:import namespace="e2436d64-00a3-42ad-a3b6-20599c34765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EventHashCode" minOccurs="0"/>
                <xsd:element ref="ns3:MediaServiceGenerationTime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1e9980-ab61-411d-9d15-db2b543af21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436d64-00a3-42ad-a3b6-20599c34765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9995CE4-F737-4594-ACCE-445701F6A65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2184442-010F-49E8-8B05-6B1B7C524E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1e9980-ab61-411d-9d15-db2b543af212"/>
    <ds:schemaRef ds:uri="e2436d64-00a3-42ad-a3b6-20599c34765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5E71A55-4BCE-4434-ADC6-C93C5A390AE7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b1e9980-ab61-411d-9d15-db2b543af212"/>
    <ds:schemaRef ds:uri="http://purl.org/dc/terms/"/>
    <ds:schemaRef ds:uri="http://schemas.openxmlformats.org/package/2006/metadata/core-properties"/>
    <ds:schemaRef ds:uri="e2436d64-00a3-42ad-a3b6-20599c347650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8438</TotalTime>
  <Words>963</Words>
  <Application>Microsoft Office PowerPoint</Application>
  <PresentationFormat>Grand écran</PresentationFormat>
  <Paragraphs>253</Paragraphs>
  <Slides>10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10</vt:i4>
      </vt:variant>
    </vt:vector>
  </HeadingPairs>
  <TitlesOfParts>
    <vt:vector size="20" baseType="lpstr">
      <vt:lpstr>Wingdings</vt:lpstr>
      <vt:lpstr>Arial</vt:lpstr>
      <vt:lpstr>Calibri</vt:lpstr>
      <vt:lpstr>Default Theme</vt:lpstr>
      <vt:lpstr>1_AUBERT&amp;DUVAL</vt:lpstr>
      <vt:lpstr>2_ERASTEEL</vt:lpstr>
      <vt:lpstr>3_AD+ES</vt:lpstr>
      <vt:lpstr>Diapositive think-cell</vt:lpstr>
      <vt:lpstr>Feuille de calcul Microsoft Excel</vt:lpstr>
      <vt:lpstr>Worksheet</vt:lpstr>
      <vt:lpstr>DASHBOARD MARCHE AERONAUTIQUE</vt:lpstr>
      <vt:lpstr>Faits Marquants</vt:lpstr>
      <vt:lpstr>Dashboard Trafic Aérien Janvier 2022</vt:lpstr>
      <vt:lpstr>Dashboard Airbus/Boeing Janvier 2022</vt:lpstr>
      <vt:lpstr>Prévisions des cadences de production</vt:lpstr>
      <vt:lpstr>Tableau 1 : Cadence moyenne mensuelle FAL </vt:lpstr>
      <vt:lpstr>Tableau 2 : Nb d’avions livrés par mois</vt:lpstr>
      <vt:lpstr>Tableau 3 : Nb d’avions commandés (et annulés) par mois</vt:lpstr>
      <vt:lpstr>Tableau 4 : Evolution du carnet de commandes Airbus/Boeing </vt:lpstr>
      <vt:lpstr>Tableau 5 : Nb d’avions produits non-livré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ROVENCHERE Sandrine</dc:creator>
  <cp:lastModifiedBy>PROVENCHERE Sandrine</cp:lastModifiedBy>
  <cp:revision>118</cp:revision>
  <dcterms:created xsi:type="dcterms:W3CDTF">2020-09-09T09:18:45Z</dcterms:created>
  <dcterms:modified xsi:type="dcterms:W3CDTF">2022-02-16T10:2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A1912B6E11934E8B096E7A522338B1</vt:lpwstr>
  </property>
</Properties>
</file>